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3" r:id="rId1"/>
  </p:sldMasterIdLst>
  <p:notesMasterIdLst>
    <p:notesMasterId r:id="rId9"/>
  </p:notesMasterIdLst>
  <p:sldIdLst>
    <p:sldId id="256" r:id="rId2"/>
    <p:sldId id="296" r:id="rId3"/>
    <p:sldId id="257" r:id="rId4"/>
    <p:sldId id="294" r:id="rId5"/>
    <p:sldId id="258" r:id="rId6"/>
    <p:sldId id="295" r:id="rId7"/>
    <p:sldId id="260" r:id="rId8"/>
  </p:sldIdLst>
  <p:sldSz cx="9144000" cy="5143500" type="screen16x9"/>
  <p:notesSz cx="6858000" cy="9144000"/>
  <p:embeddedFontLst>
    <p:embeddedFont>
      <p:font typeface="Baloo 2" panose="020B0604020202020204" charset="0"/>
      <p:regular r:id="rId10"/>
      <p:bold r:id="rId11"/>
    </p:embeddedFont>
    <p:embeddedFont>
      <p:font typeface="Baloo 2 ExtraBold" panose="020B0604020202020204" charset="0"/>
      <p:bold r:id="rId12"/>
    </p:embeddedFont>
    <p:embeddedFont>
      <p:font typeface="Open Sans" panose="020B0606030504020204" pitchFamily="34" charset="0"/>
      <p:regular r:id="rId13"/>
      <p:bold r:id="rId14"/>
      <p:italic r:id="rId15"/>
      <p:boldItalic r:id="rId16"/>
    </p:embeddedFont>
    <p:embeddedFont>
      <p:font typeface="Roboto Condensed Light" panose="02000000000000000000" pitchFamily="2" charset="0"/>
      <p:regular r:id="rId17"/>
      <p:italic r:id="rId1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8D51AE2-C68C-4408-B756-D5E1BC97F10D}">
  <a:tblStyle styleId="{38D51AE2-C68C-4408-B756-D5E1BC97F10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81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microsoft.com/office/2016/11/relationships/changesInfo" Target="changesInfos/changesInfo1.xml"/><Relationship Id="rId10" Type="http://schemas.openxmlformats.org/officeDocument/2006/relationships/font" Target="fonts/font1.fntdata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dhiti u" userId="1e8ad3a869a8e3ee" providerId="LiveId" clId="{492F11F5-3FED-463B-8524-2812C168563B}"/>
    <pc:docChg chg="undo custSel addSld delSld modSld sldOrd delMainMaster">
      <pc:chgData name="Adhiti u" userId="1e8ad3a869a8e3ee" providerId="LiveId" clId="{492F11F5-3FED-463B-8524-2812C168563B}" dt="2023-12-13T05:49:52.972" v="582" actId="313"/>
      <pc:docMkLst>
        <pc:docMk/>
      </pc:docMkLst>
      <pc:sldChg chg="del ord">
        <pc:chgData name="Adhiti u" userId="1e8ad3a869a8e3ee" providerId="LiveId" clId="{492F11F5-3FED-463B-8524-2812C168563B}" dt="2023-12-12T17:33:52.091" v="235" actId="47"/>
        <pc:sldMkLst>
          <pc:docMk/>
          <pc:sldMk cId="0" sldId="259"/>
        </pc:sldMkLst>
      </pc:sldChg>
      <pc:sldChg chg="modSp mod">
        <pc:chgData name="Adhiti u" userId="1e8ad3a869a8e3ee" providerId="LiveId" clId="{492F11F5-3FED-463B-8524-2812C168563B}" dt="2023-12-12T17:33:43.429" v="233" actId="1076"/>
        <pc:sldMkLst>
          <pc:docMk/>
          <pc:sldMk cId="0" sldId="260"/>
        </pc:sldMkLst>
        <pc:spChg chg="mod">
          <ac:chgData name="Adhiti u" userId="1e8ad3a869a8e3ee" providerId="LiveId" clId="{492F11F5-3FED-463B-8524-2812C168563B}" dt="2023-12-12T17:33:43.429" v="233" actId="1076"/>
          <ac:spMkLst>
            <pc:docMk/>
            <pc:sldMk cId="0" sldId="260"/>
            <ac:spMk id="2" creationId="{7C84E573-03FF-2509-8351-82E199DEBB3F}"/>
          </ac:spMkLst>
        </pc:spChg>
        <pc:spChg chg="mod">
          <ac:chgData name="Adhiti u" userId="1e8ad3a869a8e3ee" providerId="LiveId" clId="{492F11F5-3FED-463B-8524-2812C168563B}" dt="2023-12-12T17:33:00.669" v="228" actId="1076"/>
          <ac:spMkLst>
            <pc:docMk/>
            <pc:sldMk cId="0" sldId="260"/>
            <ac:spMk id="274" creationId="{00000000-0000-0000-0000-000000000000}"/>
          </ac:spMkLst>
        </pc:spChg>
        <pc:spChg chg="mod">
          <ac:chgData name="Adhiti u" userId="1e8ad3a869a8e3ee" providerId="LiveId" clId="{492F11F5-3FED-463B-8524-2812C168563B}" dt="2023-12-12T17:33:09.572" v="230" actId="1076"/>
          <ac:spMkLst>
            <pc:docMk/>
            <pc:sldMk cId="0" sldId="260"/>
            <ac:spMk id="275" creationId="{00000000-0000-0000-0000-000000000000}"/>
          </ac:spMkLst>
        </pc:spChg>
        <pc:spChg chg="mod">
          <ac:chgData name="Adhiti u" userId="1e8ad3a869a8e3ee" providerId="LiveId" clId="{492F11F5-3FED-463B-8524-2812C168563B}" dt="2023-12-12T17:32:32.386" v="224" actId="2711"/>
          <ac:spMkLst>
            <pc:docMk/>
            <pc:sldMk cId="0" sldId="260"/>
            <ac:spMk id="278" creationId="{00000000-0000-0000-0000-000000000000}"/>
          </ac:spMkLst>
        </pc:spChg>
        <pc:spChg chg="mod">
          <ac:chgData name="Adhiti u" userId="1e8ad3a869a8e3ee" providerId="LiveId" clId="{492F11F5-3FED-463B-8524-2812C168563B}" dt="2023-12-12T17:32:41.650" v="225" actId="2711"/>
          <ac:spMkLst>
            <pc:docMk/>
            <pc:sldMk cId="0" sldId="260"/>
            <ac:spMk id="284" creationId="{00000000-0000-0000-0000-000000000000}"/>
          </ac:spMkLst>
        </pc:spChg>
        <pc:spChg chg="mod">
          <ac:chgData name="Adhiti u" userId="1e8ad3a869a8e3ee" providerId="LiveId" clId="{492F11F5-3FED-463B-8524-2812C168563B}" dt="2023-12-12T17:32:47.298" v="226" actId="2711"/>
          <ac:spMkLst>
            <pc:docMk/>
            <pc:sldMk cId="0" sldId="260"/>
            <ac:spMk id="287" creationId="{00000000-0000-0000-0000-000000000000}"/>
          </ac:spMkLst>
        </pc:spChg>
        <pc:spChg chg="mod">
          <ac:chgData name="Adhiti u" userId="1e8ad3a869a8e3ee" providerId="LiveId" clId="{492F11F5-3FED-463B-8524-2812C168563B}" dt="2023-12-12T17:32:52.409" v="227" actId="2711"/>
          <ac:spMkLst>
            <pc:docMk/>
            <pc:sldMk cId="0" sldId="260"/>
            <ac:spMk id="290" creationId="{00000000-0000-0000-0000-000000000000}"/>
          </ac:spMkLst>
        </pc:spChg>
      </pc:sldChg>
      <pc:sldChg chg="del">
        <pc:chgData name="Adhiti u" userId="1e8ad3a869a8e3ee" providerId="LiveId" clId="{492F11F5-3FED-463B-8524-2812C168563B}" dt="2023-12-12T17:33:50.837" v="234" actId="47"/>
        <pc:sldMkLst>
          <pc:docMk/>
          <pc:sldMk cId="0" sldId="261"/>
        </pc:sldMkLst>
      </pc:sldChg>
      <pc:sldChg chg="del">
        <pc:chgData name="Adhiti u" userId="1e8ad3a869a8e3ee" providerId="LiveId" clId="{492F11F5-3FED-463B-8524-2812C168563B}" dt="2023-12-12T17:33:53.057" v="236" actId="47"/>
        <pc:sldMkLst>
          <pc:docMk/>
          <pc:sldMk cId="0" sldId="262"/>
        </pc:sldMkLst>
      </pc:sldChg>
      <pc:sldChg chg="del">
        <pc:chgData name="Adhiti u" userId="1e8ad3a869a8e3ee" providerId="LiveId" clId="{492F11F5-3FED-463B-8524-2812C168563B}" dt="2023-12-12T17:34:29.878" v="237" actId="47"/>
        <pc:sldMkLst>
          <pc:docMk/>
          <pc:sldMk cId="0" sldId="263"/>
        </pc:sldMkLst>
      </pc:sldChg>
      <pc:sldChg chg="del">
        <pc:chgData name="Adhiti u" userId="1e8ad3a869a8e3ee" providerId="LiveId" clId="{492F11F5-3FED-463B-8524-2812C168563B}" dt="2023-12-12T17:34:33.557" v="238" actId="47"/>
        <pc:sldMkLst>
          <pc:docMk/>
          <pc:sldMk cId="0" sldId="264"/>
        </pc:sldMkLst>
      </pc:sldChg>
      <pc:sldChg chg="del">
        <pc:chgData name="Adhiti u" userId="1e8ad3a869a8e3ee" providerId="LiveId" clId="{492F11F5-3FED-463B-8524-2812C168563B}" dt="2023-12-12T17:34:34.842" v="239" actId="47"/>
        <pc:sldMkLst>
          <pc:docMk/>
          <pc:sldMk cId="0" sldId="265"/>
        </pc:sldMkLst>
      </pc:sldChg>
      <pc:sldChg chg="del">
        <pc:chgData name="Adhiti u" userId="1e8ad3a869a8e3ee" providerId="LiveId" clId="{492F11F5-3FED-463B-8524-2812C168563B}" dt="2023-12-12T17:34:35.538" v="240" actId="47"/>
        <pc:sldMkLst>
          <pc:docMk/>
          <pc:sldMk cId="0" sldId="266"/>
        </pc:sldMkLst>
      </pc:sldChg>
      <pc:sldChg chg="del">
        <pc:chgData name="Adhiti u" userId="1e8ad3a869a8e3ee" providerId="LiveId" clId="{492F11F5-3FED-463B-8524-2812C168563B}" dt="2023-12-12T17:34:36.069" v="241" actId="47"/>
        <pc:sldMkLst>
          <pc:docMk/>
          <pc:sldMk cId="0" sldId="267"/>
        </pc:sldMkLst>
      </pc:sldChg>
      <pc:sldChg chg="del">
        <pc:chgData name="Adhiti u" userId="1e8ad3a869a8e3ee" providerId="LiveId" clId="{492F11F5-3FED-463B-8524-2812C168563B}" dt="2023-12-12T17:34:36.525" v="242" actId="47"/>
        <pc:sldMkLst>
          <pc:docMk/>
          <pc:sldMk cId="0" sldId="268"/>
        </pc:sldMkLst>
      </pc:sldChg>
      <pc:sldChg chg="del">
        <pc:chgData name="Adhiti u" userId="1e8ad3a869a8e3ee" providerId="LiveId" clId="{492F11F5-3FED-463B-8524-2812C168563B}" dt="2023-12-12T17:34:37.041" v="243" actId="47"/>
        <pc:sldMkLst>
          <pc:docMk/>
          <pc:sldMk cId="0" sldId="269"/>
        </pc:sldMkLst>
      </pc:sldChg>
      <pc:sldChg chg="del">
        <pc:chgData name="Adhiti u" userId="1e8ad3a869a8e3ee" providerId="LiveId" clId="{492F11F5-3FED-463B-8524-2812C168563B}" dt="2023-12-12T17:34:37.525" v="244" actId="47"/>
        <pc:sldMkLst>
          <pc:docMk/>
          <pc:sldMk cId="0" sldId="270"/>
        </pc:sldMkLst>
      </pc:sldChg>
      <pc:sldChg chg="del">
        <pc:chgData name="Adhiti u" userId="1e8ad3a869a8e3ee" providerId="LiveId" clId="{492F11F5-3FED-463B-8524-2812C168563B}" dt="2023-12-12T17:34:38.073" v="245" actId="47"/>
        <pc:sldMkLst>
          <pc:docMk/>
          <pc:sldMk cId="0" sldId="271"/>
        </pc:sldMkLst>
      </pc:sldChg>
      <pc:sldChg chg="del">
        <pc:chgData name="Adhiti u" userId="1e8ad3a869a8e3ee" providerId="LiveId" clId="{492F11F5-3FED-463B-8524-2812C168563B}" dt="2023-12-12T17:34:38.495" v="246" actId="47"/>
        <pc:sldMkLst>
          <pc:docMk/>
          <pc:sldMk cId="0" sldId="272"/>
        </pc:sldMkLst>
      </pc:sldChg>
      <pc:sldChg chg="del">
        <pc:chgData name="Adhiti u" userId="1e8ad3a869a8e3ee" providerId="LiveId" clId="{492F11F5-3FED-463B-8524-2812C168563B}" dt="2023-12-12T17:34:38.901" v="247" actId="47"/>
        <pc:sldMkLst>
          <pc:docMk/>
          <pc:sldMk cId="0" sldId="273"/>
        </pc:sldMkLst>
      </pc:sldChg>
      <pc:sldChg chg="del">
        <pc:chgData name="Adhiti u" userId="1e8ad3a869a8e3ee" providerId="LiveId" clId="{492F11F5-3FED-463B-8524-2812C168563B}" dt="2023-12-12T17:34:39.276" v="248" actId="47"/>
        <pc:sldMkLst>
          <pc:docMk/>
          <pc:sldMk cId="0" sldId="274"/>
        </pc:sldMkLst>
      </pc:sldChg>
      <pc:sldChg chg="del">
        <pc:chgData name="Adhiti u" userId="1e8ad3a869a8e3ee" providerId="LiveId" clId="{492F11F5-3FED-463B-8524-2812C168563B}" dt="2023-12-12T17:34:39.729" v="249" actId="47"/>
        <pc:sldMkLst>
          <pc:docMk/>
          <pc:sldMk cId="0" sldId="275"/>
        </pc:sldMkLst>
      </pc:sldChg>
      <pc:sldChg chg="del">
        <pc:chgData name="Adhiti u" userId="1e8ad3a869a8e3ee" providerId="LiveId" clId="{492F11F5-3FED-463B-8524-2812C168563B}" dt="2023-12-12T17:34:40.167" v="250" actId="47"/>
        <pc:sldMkLst>
          <pc:docMk/>
          <pc:sldMk cId="0" sldId="276"/>
        </pc:sldMkLst>
      </pc:sldChg>
      <pc:sldChg chg="del">
        <pc:chgData name="Adhiti u" userId="1e8ad3a869a8e3ee" providerId="LiveId" clId="{492F11F5-3FED-463B-8524-2812C168563B}" dt="2023-12-12T17:34:40.604" v="251" actId="47"/>
        <pc:sldMkLst>
          <pc:docMk/>
          <pc:sldMk cId="0" sldId="277"/>
        </pc:sldMkLst>
      </pc:sldChg>
      <pc:sldChg chg="del">
        <pc:chgData name="Adhiti u" userId="1e8ad3a869a8e3ee" providerId="LiveId" clId="{492F11F5-3FED-463B-8524-2812C168563B}" dt="2023-12-12T17:34:40.906" v="252" actId="47"/>
        <pc:sldMkLst>
          <pc:docMk/>
          <pc:sldMk cId="0" sldId="278"/>
        </pc:sldMkLst>
      </pc:sldChg>
      <pc:sldChg chg="del">
        <pc:chgData name="Adhiti u" userId="1e8ad3a869a8e3ee" providerId="LiveId" clId="{492F11F5-3FED-463B-8524-2812C168563B}" dt="2023-12-12T17:34:41.171" v="253" actId="47"/>
        <pc:sldMkLst>
          <pc:docMk/>
          <pc:sldMk cId="0" sldId="279"/>
        </pc:sldMkLst>
      </pc:sldChg>
      <pc:sldChg chg="del">
        <pc:chgData name="Adhiti u" userId="1e8ad3a869a8e3ee" providerId="LiveId" clId="{492F11F5-3FED-463B-8524-2812C168563B}" dt="2023-12-12T17:34:41.562" v="254" actId="47"/>
        <pc:sldMkLst>
          <pc:docMk/>
          <pc:sldMk cId="0" sldId="280"/>
        </pc:sldMkLst>
      </pc:sldChg>
      <pc:sldChg chg="del">
        <pc:chgData name="Adhiti u" userId="1e8ad3a869a8e3ee" providerId="LiveId" clId="{492F11F5-3FED-463B-8524-2812C168563B}" dt="2023-12-12T17:34:41.937" v="255" actId="47"/>
        <pc:sldMkLst>
          <pc:docMk/>
          <pc:sldMk cId="0" sldId="281"/>
        </pc:sldMkLst>
      </pc:sldChg>
      <pc:sldChg chg="del">
        <pc:chgData name="Adhiti u" userId="1e8ad3a869a8e3ee" providerId="LiveId" clId="{492F11F5-3FED-463B-8524-2812C168563B}" dt="2023-12-12T17:34:42.343" v="256" actId="47"/>
        <pc:sldMkLst>
          <pc:docMk/>
          <pc:sldMk cId="0" sldId="282"/>
        </pc:sldMkLst>
      </pc:sldChg>
      <pc:sldChg chg="del">
        <pc:chgData name="Adhiti u" userId="1e8ad3a869a8e3ee" providerId="LiveId" clId="{492F11F5-3FED-463B-8524-2812C168563B}" dt="2023-12-12T17:34:42.437" v="257" actId="47"/>
        <pc:sldMkLst>
          <pc:docMk/>
          <pc:sldMk cId="0" sldId="283"/>
        </pc:sldMkLst>
      </pc:sldChg>
      <pc:sldChg chg="del">
        <pc:chgData name="Adhiti u" userId="1e8ad3a869a8e3ee" providerId="LiveId" clId="{492F11F5-3FED-463B-8524-2812C168563B}" dt="2023-12-12T17:34:42.624" v="258" actId="47"/>
        <pc:sldMkLst>
          <pc:docMk/>
          <pc:sldMk cId="0" sldId="284"/>
        </pc:sldMkLst>
      </pc:sldChg>
      <pc:sldChg chg="del">
        <pc:chgData name="Adhiti u" userId="1e8ad3a869a8e3ee" providerId="LiveId" clId="{492F11F5-3FED-463B-8524-2812C168563B}" dt="2023-12-12T17:34:43.125" v="259" actId="47"/>
        <pc:sldMkLst>
          <pc:docMk/>
          <pc:sldMk cId="0" sldId="285"/>
        </pc:sldMkLst>
      </pc:sldChg>
      <pc:sldChg chg="del">
        <pc:chgData name="Adhiti u" userId="1e8ad3a869a8e3ee" providerId="LiveId" clId="{492F11F5-3FED-463B-8524-2812C168563B}" dt="2023-12-12T17:34:43.422" v="260" actId="47"/>
        <pc:sldMkLst>
          <pc:docMk/>
          <pc:sldMk cId="0" sldId="286"/>
        </pc:sldMkLst>
      </pc:sldChg>
      <pc:sldChg chg="del">
        <pc:chgData name="Adhiti u" userId="1e8ad3a869a8e3ee" providerId="LiveId" clId="{492F11F5-3FED-463B-8524-2812C168563B}" dt="2023-12-12T17:34:43.485" v="261" actId="47"/>
        <pc:sldMkLst>
          <pc:docMk/>
          <pc:sldMk cId="0" sldId="287"/>
        </pc:sldMkLst>
      </pc:sldChg>
      <pc:sldChg chg="del">
        <pc:chgData name="Adhiti u" userId="1e8ad3a869a8e3ee" providerId="LiveId" clId="{492F11F5-3FED-463B-8524-2812C168563B}" dt="2023-12-12T17:34:43.531" v="262" actId="47"/>
        <pc:sldMkLst>
          <pc:docMk/>
          <pc:sldMk cId="0" sldId="288"/>
        </pc:sldMkLst>
      </pc:sldChg>
      <pc:sldChg chg="del">
        <pc:chgData name="Adhiti u" userId="1e8ad3a869a8e3ee" providerId="LiveId" clId="{492F11F5-3FED-463B-8524-2812C168563B}" dt="2023-12-12T17:34:43.610" v="263" actId="47"/>
        <pc:sldMkLst>
          <pc:docMk/>
          <pc:sldMk cId="0" sldId="289"/>
        </pc:sldMkLst>
      </pc:sldChg>
      <pc:sldChg chg="del">
        <pc:chgData name="Adhiti u" userId="1e8ad3a869a8e3ee" providerId="LiveId" clId="{492F11F5-3FED-463B-8524-2812C168563B}" dt="2023-12-12T17:34:43.797" v="264" actId="47"/>
        <pc:sldMkLst>
          <pc:docMk/>
          <pc:sldMk cId="0" sldId="290"/>
        </pc:sldMkLst>
      </pc:sldChg>
      <pc:sldChg chg="addSp delSp modSp new mod modClrScheme chgLayout">
        <pc:chgData name="Adhiti u" userId="1e8ad3a869a8e3ee" providerId="LiveId" clId="{492F11F5-3FED-463B-8524-2812C168563B}" dt="2023-12-13T05:30:39.972" v="512" actId="1076"/>
        <pc:sldMkLst>
          <pc:docMk/>
          <pc:sldMk cId="1576971094" sldId="295"/>
        </pc:sldMkLst>
        <pc:spChg chg="del mod ord">
          <ac:chgData name="Adhiti u" userId="1e8ad3a869a8e3ee" providerId="LiveId" clId="{492F11F5-3FED-463B-8524-2812C168563B}" dt="2023-12-13T04:42:27.143" v="266" actId="700"/>
          <ac:spMkLst>
            <pc:docMk/>
            <pc:sldMk cId="1576971094" sldId="295"/>
            <ac:spMk id="2" creationId="{A8954879-D702-80EC-16FF-77DC4642881D}"/>
          </ac:spMkLst>
        </pc:spChg>
        <pc:spChg chg="add mod ord">
          <ac:chgData name="Adhiti u" userId="1e8ad3a869a8e3ee" providerId="LiveId" clId="{492F11F5-3FED-463B-8524-2812C168563B}" dt="2023-12-13T05:30:39.972" v="512" actId="1076"/>
          <ac:spMkLst>
            <pc:docMk/>
            <pc:sldMk cId="1576971094" sldId="295"/>
            <ac:spMk id="3" creationId="{5E9ABDD2-EADF-C40C-E75A-F3379A6A41B4}"/>
          </ac:spMkLst>
        </pc:spChg>
        <pc:spChg chg="add mod ord">
          <ac:chgData name="Adhiti u" userId="1e8ad3a869a8e3ee" providerId="LiveId" clId="{492F11F5-3FED-463B-8524-2812C168563B}" dt="2023-12-13T05:30:23.456" v="501" actId="113"/>
          <ac:spMkLst>
            <pc:docMk/>
            <pc:sldMk cId="1576971094" sldId="295"/>
            <ac:spMk id="4" creationId="{281FC875-4723-7C46-837B-15CB3C7E259B}"/>
          </ac:spMkLst>
        </pc:spChg>
      </pc:sldChg>
      <pc:sldChg chg="modSp new mod ord">
        <pc:chgData name="Adhiti u" userId="1e8ad3a869a8e3ee" providerId="LiveId" clId="{492F11F5-3FED-463B-8524-2812C168563B}" dt="2023-12-13T05:49:52.972" v="582" actId="313"/>
        <pc:sldMkLst>
          <pc:docMk/>
          <pc:sldMk cId="1999870334" sldId="296"/>
        </pc:sldMkLst>
        <pc:spChg chg="mod">
          <ac:chgData name="Adhiti u" userId="1e8ad3a869a8e3ee" providerId="LiveId" clId="{492F11F5-3FED-463B-8524-2812C168563B}" dt="2023-12-13T05:45:22.179" v="534" actId="20577"/>
          <ac:spMkLst>
            <pc:docMk/>
            <pc:sldMk cId="1999870334" sldId="296"/>
            <ac:spMk id="2" creationId="{3B150243-D130-01A1-AD0F-2FEAF3E565E4}"/>
          </ac:spMkLst>
        </pc:spChg>
        <pc:spChg chg="mod">
          <ac:chgData name="Adhiti u" userId="1e8ad3a869a8e3ee" providerId="LiveId" clId="{492F11F5-3FED-463B-8524-2812C168563B}" dt="2023-12-13T05:49:52.972" v="582" actId="313"/>
          <ac:spMkLst>
            <pc:docMk/>
            <pc:sldMk cId="1999870334" sldId="296"/>
            <ac:spMk id="3" creationId="{C7250A22-CD4B-0FDE-327E-BE8A632F41B4}"/>
          </ac:spMkLst>
        </pc:spChg>
      </pc:sldChg>
      <pc:sldChg chg="new del">
        <pc:chgData name="Adhiti u" userId="1e8ad3a869a8e3ee" providerId="LiveId" clId="{492F11F5-3FED-463B-8524-2812C168563B}" dt="2023-12-13T05:45:11.058" v="514" actId="2696"/>
        <pc:sldMkLst>
          <pc:docMk/>
          <pc:sldMk cId="2253005184" sldId="296"/>
        </pc:sldMkLst>
      </pc:sldChg>
      <pc:sldMasterChg chg="delSldLayout">
        <pc:chgData name="Adhiti u" userId="1e8ad3a869a8e3ee" providerId="LiveId" clId="{492F11F5-3FED-463B-8524-2812C168563B}" dt="2023-12-13T05:45:11.058" v="514" actId="2696"/>
        <pc:sldMasterMkLst>
          <pc:docMk/>
          <pc:sldMasterMk cId="0" sldId="2147483663"/>
        </pc:sldMasterMkLst>
        <pc:sldLayoutChg chg="del">
          <pc:chgData name="Adhiti u" userId="1e8ad3a869a8e3ee" providerId="LiveId" clId="{492F11F5-3FED-463B-8524-2812C168563B}" dt="2023-12-13T05:45:11.058" v="514" actId="2696"/>
          <pc:sldLayoutMkLst>
            <pc:docMk/>
            <pc:sldMasterMk cId="0" sldId="2147483663"/>
            <pc:sldLayoutMk cId="0" sldId="2147483649"/>
          </pc:sldLayoutMkLst>
        </pc:sldLayoutChg>
        <pc:sldLayoutChg chg="del">
          <pc:chgData name="Adhiti u" userId="1e8ad3a869a8e3ee" providerId="LiveId" clId="{492F11F5-3FED-463B-8524-2812C168563B}" dt="2023-12-12T17:34:43.422" v="260" actId="47"/>
          <pc:sldLayoutMkLst>
            <pc:docMk/>
            <pc:sldMasterMk cId="0" sldId="2147483663"/>
            <pc:sldLayoutMk cId="0" sldId="2147483652"/>
          </pc:sldLayoutMkLst>
        </pc:sldLayoutChg>
        <pc:sldLayoutChg chg="del">
          <pc:chgData name="Adhiti u" userId="1e8ad3a869a8e3ee" providerId="LiveId" clId="{492F11F5-3FED-463B-8524-2812C168563B}" dt="2023-12-12T17:34:43.125" v="259" actId="47"/>
          <pc:sldLayoutMkLst>
            <pc:docMk/>
            <pc:sldMasterMk cId="0" sldId="2147483663"/>
            <pc:sldLayoutMk cId="0" sldId="2147483661"/>
          </pc:sldLayoutMkLst>
        </pc:sldLayoutChg>
      </pc:sldMasterChg>
      <pc:sldMasterChg chg="del delSldLayout">
        <pc:chgData name="Adhiti u" userId="1e8ad3a869a8e3ee" providerId="LiveId" clId="{492F11F5-3FED-463B-8524-2812C168563B}" dt="2023-12-12T17:34:43.797" v="264" actId="47"/>
        <pc:sldMasterMkLst>
          <pc:docMk/>
          <pc:sldMasterMk cId="0" sldId="2147483664"/>
        </pc:sldMasterMkLst>
        <pc:sldLayoutChg chg="del">
          <pc:chgData name="Adhiti u" userId="1e8ad3a869a8e3ee" providerId="LiveId" clId="{492F11F5-3FED-463B-8524-2812C168563B}" dt="2023-12-12T17:34:43.797" v="264" actId="47"/>
          <pc:sldLayoutMkLst>
            <pc:docMk/>
            <pc:sldMasterMk cId="0" sldId="2147483664"/>
            <pc:sldLayoutMk cId="0" sldId="214748366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" name="Google Shape;135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2171b6b4acd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2171b6b4acd_0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Install Power-user to access thousands of templates, icons, maps, diagrams and charts with Power-user.</a:t>
            </a:r>
          </a:p>
          <a:p>
            <a:r>
              <a:rPr lang="en-US"/>
              <a:t>Visit </a:t>
            </a:r>
            <a:r>
              <a:rPr lang="en-US">
                <a:hlinkClick r:id="rId3"/>
              </a:rPr>
              <a:t>https://www.powerusersoftwares.com/</a:t>
            </a:r>
            <a:endParaRPr lang="en-US"/>
          </a:p>
          <a:p>
            <a:r>
              <a:rPr lang="en-US"/>
              <a:t>©Power-user SAS, terms of license: </a:t>
            </a:r>
            <a:r>
              <a:rPr lang="en-US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7898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g2171b6b4acd_0_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" name="Google Shape;165;g2171b6b4acd_0_1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g2171b6b4acd_0_2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7" name="Google Shape;267;g2171b6b4acd_0_26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2586250" y="1449738"/>
            <a:ext cx="5849700" cy="152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5200"/>
              <a:buNone/>
              <a:defRPr sz="45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586265" y="3232050"/>
            <a:ext cx="5849700" cy="46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CUSTOM_9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3"/>
          <p:cNvSpPr txBox="1">
            <a:spLocks noGrp="1"/>
          </p:cNvSpPr>
          <p:nvPr>
            <p:ph type="title"/>
          </p:nvPr>
        </p:nvSpPr>
        <p:spPr>
          <a:xfrm>
            <a:off x="713275" y="445025"/>
            <a:ext cx="7717500" cy="74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13"/>
          <p:cNvSpPr/>
          <p:nvPr/>
        </p:nvSpPr>
        <p:spPr>
          <a:xfrm rot="10800000" flipH="1">
            <a:off x="1" y="-102"/>
            <a:ext cx="1771771" cy="693977"/>
          </a:xfrm>
          <a:custGeom>
            <a:avLst/>
            <a:gdLst/>
            <a:ahLst/>
            <a:cxnLst/>
            <a:rect l="l" t="t" r="r" b="b"/>
            <a:pathLst>
              <a:path w="141685" h="55496" extrusionOk="0">
                <a:moveTo>
                  <a:pt x="24" y="1"/>
                </a:moveTo>
                <a:lnTo>
                  <a:pt x="0" y="55495"/>
                </a:lnTo>
                <a:lnTo>
                  <a:pt x="141685" y="55495"/>
                </a:lnTo>
                <a:cubicBezTo>
                  <a:pt x="140553" y="46340"/>
                  <a:pt x="135874" y="37672"/>
                  <a:pt x="128838" y="31707"/>
                </a:cubicBezTo>
                <a:cubicBezTo>
                  <a:pt x="122188" y="26070"/>
                  <a:pt x="113497" y="22900"/>
                  <a:pt x="104784" y="22900"/>
                </a:cubicBezTo>
                <a:cubicBezTo>
                  <a:pt x="104277" y="22900"/>
                  <a:pt x="103770" y="22910"/>
                  <a:pt x="103263" y="22932"/>
                </a:cubicBezTo>
                <a:cubicBezTo>
                  <a:pt x="100036" y="23064"/>
                  <a:pt x="96758" y="23618"/>
                  <a:pt x="93542" y="23618"/>
                </a:cubicBezTo>
                <a:cubicBezTo>
                  <a:pt x="91834" y="23618"/>
                  <a:pt x="90143" y="23462"/>
                  <a:pt x="88487" y="23003"/>
                </a:cubicBezTo>
                <a:cubicBezTo>
                  <a:pt x="76986" y="19836"/>
                  <a:pt x="72247" y="3846"/>
                  <a:pt x="60508" y="1763"/>
                </a:cubicBezTo>
                <a:cubicBezTo>
                  <a:pt x="59680" y="1616"/>
                  <a:pt x="58853" y="1547"/>
                  <a:pt x="58028" y="1547"/>
                </a:cubicBezTo>
                <a:cubicBezTo>
                  <a:pt x="53367" y="1547"/>
                  <a:pt x="48791" y="3731"/>
                  <a:pt x="44815" y="6311"/>
                </a:cubicBezTo>
                <a:cubicBezTo>
                  <a:pt x="40124" y="9347"/>
                  <a:pt x="35767" y="13038"/>
                  <a:pt x="30528" y="14967"/>
                </a:cubicBezTo>
                <a:cubicBezTo>
                  <a:pt x="28164" y="15831"/>
                  <a:pt x="25685" y="16237"/>
                  <a:pt x="23200" y="16237"/>
                </a:cubicBezTo>
                <a:cubicBezTo>
                  <a:pt x="13195" y="16237"/>
                  <a:pt x="3095" y="9662"/>
                  <a:pt x="24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" name="Google Shape;114;p13"/>
          <p:cNvSpPr/>
          <p:nvPr/>
        </p:nvSpPr>
        <p:spPr>
          <a:xfrm rot="10800000" flipH="1">
            <a:off x="0" y="27"/>
            <a:ext cx="2581257" cy="448392"/>
          </a:xfrm>
          <a:custGeom>
            <a:avLst/>
            <a:gdLst/>
            <a:ahLst/>
            <a:cxnLst/>
            <a:rect l="l" t="t" r="r" b="b"/>
            <a:pathLst>
              <a:path w="111634" h="19392" extrusionOk="0">
                <a:moveTo>
                  <a:pt x="17433" y="1"/>
                </a:moveTo>
                <a:cubicBezTo>
                  <a:pt x="14716" y="1"/>
                  <a:pt x="11947" y="743"/>
                  <a:pt x="9561" y="1913"/>
                </a:cubicBezTo>
                <a:cubicBezTo>
                  <a:pt x="5859" y="3735"/>
                  <a:pt x="2906" y="6473"/>
                  <a:pt x="1" y="9164"/>
                </a:cubicBezTo>
                <a:lnTo>
                  <a:pt x="13" y="19392"/>
                </a:lnTo>
                <a:lnTo>
                  <a:pt x="111634" y="19392"/>
                </a:lnTo>
                <a:cubicBezTo>
                  <a:pt x="109729" y="13701"/>
                  <a:pt x="104597" y="8878"/>
                  <a:pt x="98156" y="6747"/>
                </a:cubicBezTo>
                <a:cubicBezTo>
                  <a:pt x="95615" y="5905"/>
                  <a:pt x="92895" y="5490"/>
                  <a:pt x="90173" y="5490"/>
                </a:cubicBezTo>
                <a:cubicBezTo>
                  <a:pt x="86008" y="5490"/>
                  <a:pt x="81839" y="6461"/>
                  <a:pt x="78296" y="8355"/>
                </a:cubicBezTo>
                <a:cubicBezTo>
                  <a:pt x="74544" y="10355"/>
                  <a:pt x="70871" y="13455"/>
                  <a:pt x="66643" y="13455"/>
                </a:cubicBezTo>
                <a:cubicBezTo>
                  <a:pt x="66215" y="13455"/>
                  <a:pt x="65782" y="13423"/>
                  <a:pt x="65342" y="13355"/>
                </a:cubicBezTo>
                <a:cubicBezTo>
                  <a:pt x="60723" y="12643"/>
                  <a:pt x="57607" y="8057"/>
                  <a:pt x="52925" y="8057"/>
                </a:cubicBezTo>
                <a:cubicBezTo>
                  <a:pt x="52912" y="8057"/>
                  <a:pt x="52900" y="8057"/>
                  <a:pt x="52888" y="8057"/>
                </a:cubicBezTo>
                <a:cubicBezTo>
                  <a:pt x="48662" y="8081"/>
                  <a:pt x="45649" y="11855"/>
                  <a:pt x="41494" y="12522"/>
                </a:cubicBezTo>
                <a:cubicBezTo>
                  <a:pt x="41049" y="12593"/>
                  <a:pt x="40607" y="12627"/>
                  <a:pt x="40168" y="12627"/>
                </a:cubicBezTo>
                <a:cubicBezTo>
                  <a:pt x="36587" y="12627"/>
                  <a:pt x="33279" y="10372"/>
                  <a:pt x="30850" y="7986"/>
                </a:cubicBezTo>
                <a:cubicBezTo>
                  <a:pt x="28123" y="5295"/>
                  <a:pt x="25671" y="2151"/>
                  <a:pt x="21849" y="747"/>
                </a:cubicBezTo>
                <a:cubicBezTo>
                  <a:pt x="20443" y="231"/>
                  <a:pt x="18946" y="1"/>
                  <a:pt x="17433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" name="Google Shape;115;p13"/>
          <p:cNvSpPr/>
          <p:nvPr/>
        </p:nvSpPr>
        <p:spPr>
          <a:xfrm>
            <a:off x="-114300" y="751025"/>
            <a:ext cx="527700" cy="527700"/>
          </a:xfrm>
          <a:prstGeom prst="ellipse">
            <a:avLst/>
          </a:pr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" name="Google Shape;116;p13"/>
          <p:cNvSpPr/>
          <p:nvPr/>
        </p:nvSpPr>
        <p:spPr>
          <a:xfrm flipH="1">
            <a:off x="6178287" y="4238625"/>
            <a:ext cx="2965713" cy="904869"/>
          </a:xfrm>
          <a:custGeom>
            <a:avLst/>
            <a:gdLst/>
            <a:ahLst/>
            <a:cxnLst/>
            <a:rect l="l" t="t" r="r" b="b"/>
            <a:pathLst>
              <a:path w="237352" h="72404" extrusionOk="0">
                <a:moveTo>
                  <a:pt x="25265" y="1"/>
                </a:moveTo>
                <a:cubicBezTo>
                  <a:pt x="24946" y="1"/>
                  <a:pt x="24624" y="9"/>
                  <a:pt x="24301" y="25"/>
                </a:cubicBezTo>
                <a:cubicBezTo>
                  <a:pt x="14014" y="549"/>
                  <a:pt x="6358" y="9348"/>
                  <a:pt x="0" y="17432"/>
                </a:cubicBezTo>
                <a:lnTo>
                  <a:pt x="24" y="72403"/>
                </a:lnTo>
                <a:lnTo>
                  <a:pt x="237351" y="72403"/>
                </a:lnTo>
                <a:cubicBezTo>
                  <a:pt x="234172" y="66569"/>
                  <a:pt x="230922" y="60628"/>
                  <a:pt x="226136" y="56020"/>
                </a:cubicBezTo>
                <a:cubicBezTo>
                  <a:pt x="221955" y="51996"/>
                  <a:pt x="216340" y="49080"/>
                  <a:pt x="210615" y="49080"/>
                </a:cubicBezTo>
                <a:cubicBezTo>
                  <a:pt x="209785" y="49080"/>
                  <a:pt x="208952" y="49141"/>
                  <a:pt x="208121" y="49269"/>
                </a:cubicBezTo>
                <a:cubicBezTo>
                  <a:pt x="200930" y="50389"/>
                  <a:pt x="195084" y="56187"/>
                  <a:pt x="187857" y="57104"/>
                </a:cubicBezTo>
                <a:cubicBezTo>
                  <a:pt x="187177" y="57191"/>
                  <a:pt x="186499" y="57233"/>
                  <a:pt x="185824" y="57233"/>
                </a:cubicBezTo>
                <a:cubicBezTo>
                  <a:pt x="179715" y="57233"/>
                  <a:pt x="173869" y="53788"/>
                  <a:pt x="169355" y="49531"/>
                </a:cubicBezTo>
                <a:cubicBezTo>
                  <a:pt x="164330" y="44805"/>
                  <a:pt x="160413" y="39006"/>
                  <a:pt x="155424" y="34256"/>
                </a:cubicBezTo>
                <a:cubicBezTo>
                  <a:pt x="146597" y="25874"/>
                  <a:pt x="134399" y="21415"/>
                  <a:pt x="122252" y="21415"/>
                </a:cubicBezTo>
                <a:cubicBezTo>
                  <a:pt x="115246" y="21415"/>
                  <a:pt x="108257" y="22898"/>
                  <a:pt x="101941" y="25969"/>
                </a:cubicBezTo>
                <a:cubicBezTo>
                  <a:pt x="94274" y="29696"/>
                  <a:pt x="87154" y="35613"/>
                  <a:pt x="78629" y="35827"/>
                </a:cubicBezTo>
                <a:cubicBezTo>
                  <a:pt x="78465" y="35831"/>
                  <a:pt x="78302" y="35833"/>
                  <a:pt x="78140" y="35833"/>
                </a:cubicBezTo>
                <a:cubicBezTo>
                  <a:pt x="67113" y="35833"/>
                  <a:pt x="58547" y="26354"/>
                  <a:pt x="51554" y="17730"/>
                </a:cubicBezTo>
                <a:cubicBezTo>
                  <a:pt x="44662" y="9230"/>
                  <a:pt x="36063" y="1"/>
                  <a:pt x="25265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CUSTOM_9_1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14"/>
          <p:cNvSpPr txBox="1">
            <a:spLocks noGrp="1"/>
          </p:cNvSpPr>
          <p:nvPr>
            <p:ph type="title"/>
          </p:nvPr>
        </p:nvSpPr>
        <p:spPr>
          <a:xfrm>
            <a:off x="713275" y="445025"/>
            <a:ext cx="7717500" cy="74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14"/>
          <p:cNvSpPr/>
          <p:nvPr/>
        </p:nvSpPr>
        <p:spPr>
          <a:xfrm>
            <a:off x="0" y="4676700"/>
            <a:ext cx="2687309" cy="466862"/>
          </a:xfrm>
          <a:custGeom>
            <a:avLst/>
            <a:gdLst/>
            <a:ahLst/>
            <a:cxnLst/>
            <a:rect l="l" t="t" r="r" b="b"/>
            <a:pathLst>
              <a:path w="111634" h="19392" extrusionOk="0">
                <a:moveTo>
                  <a:pt x="17433" y="1"/>
                </a:moveTo>
                <a:cubicBezTo>
                  <a:pt x="14716" y="1"/>
                  <a:pt x="11947" y="743"/>
                  <a:pt x="9561" y="1913"/>
                </a:cubicBezTo>
                <a:cubicBezTo>
                  <a:pt x="5859" y="3735"/>
                  <a:pt x="2906" y="6473"/>
                  <a:pt x="1" y="9164"/>
                </a:cubicBezTo>
                <a:lnTo>
                  <a:pt x="13" y="19392"/>
                </a:lnTo>
                <a:lnTo>
                  <a:pt x="111634" y="19392"/>
                </a:lnTo>
                <a:cubicBezTo>
                  <a:pt x="109729" y="13701"/>
                  <a:pt x="104597" y="8878"/>
                  <a:pt x="98156" y="6747"/>
                </a:cubicBezTo>
                <a:cubicBezTo>
                  <a:pt x="95615" y="5905"/>
                  <a:pt x="92895" y="5490"/>
                  <a:pt x="90173" y="5490"/>
                </a:cubicBezTo>
                <a:cubicBezTo>
                  <a:pt x="86008" y="5490"/>
                  <a:pt x="81839" y="6461"/>
                  <a:pt x="78296" y="8355"/>
                </a:cubicBezTo>
                <a:cubicBezTo>
                  <a:pt x="74544" y="10355"/>
                  <a:pt x="70871" y="13455"/>
                  <a:pt x="66643" y="13455"/>
                </a:cubicBezTo>
                <a:cubicBezTo>
                  <a:pt x="66215" y="13455"/>
                  <a:pt x="65782" y="13423"/>
                  <a:pt x="65342" y="13355"/>
                </a:cubicBezTo>
                <a:cubicBezTo>
                  <a:pt x="60723" y="12643"/>
                  <a:pt x="57607" y="8057"/>
                  <a:pt x="52925" y="8057"/>
                </a:cubicBezTo>
                <a:cubicBezTo>
                  <a:pt x="52912" y="8057"/>
                  <a:pt x="52900" y="8057"/>
                  <a:pt x="52888" y="8057"/>
                </a:cubicBezTo>
                <a:cubicBezTo>
                  <a:pt x="48662" y="8081"/>
                  <a:pt x="45649" y="11855"/>
                  <a:pt x="41494" y="12522"/>
                </a:cubicBezTo>
                <a:cubicBezTo>
                  <a:pt x="41049" y="12593"/>
                  <a:pt x="40607" y="12627"/>
                  <a:pt x="40168" y="12627"/>
                </a:cubicBezTo>
                <a:cubicBezTo>
                  <a:pt x="36587" y="12627"/>
                  <a:pt x="33279" y="10372"/>
                  <a:pt x="30850" y="7986"/>
                </a:cubicBezTo>
                <a:cubicBezTo>
                  <a:pt x="28123" y="5295"/>
                  <a:pt x="25671" y="2151"/>
                  <a:pt x="21849" y="747"/>
                </a:cubicBezTo>
                <a:cubicBezTo>
                  <a:pt x="20443" y="231"/>
                  <a:pt x="18946" y="1"/>
                  <a:pt x="17433" y="1"/>
                </a:cubicBezTo>
                <a:close/>
              </a:path>
            </a:pathLst>
          </a:cu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14"/>
          <p:cNvSpPr/>
          <p:nvPr/>
        </p:nvSpPr>
        <p:spPr>
          <a:xfrm>
            <a:off x="5" y="4335251"/>
            <a:ext cx="2649442" cy="808391"/>
          </a:xfrm>
          <a:custGeom>
            <a:avLst/>
            <a:gdLst/>
            <a:ahLst/>
            <a:cxnLst/>
            <a:rect l="l" t="t" r="r" b="b"/>
            <a:pathLst>
              <a:path w="237352" h="72404" extrusionOk="0">
                <a:moveTo>
                  <a:pt x="25265" y="1"/>
                </a:moveTo>
                <a:cubicBezTo>
                  <a:pt x="24946" y="1"/>
                  <a:pt x="24624" y="9"/>
                  <a:pt x="24301" y="25"/>
                </a:cubicBezTo>
                <a:cubicBezTo>
                  <a:pt x="14014" y="549"/>
                  <a:pt x="6358" y="9348"/>
                  <a:pt x="0" y="17432"/>
                </a:cubicBezTo>
                <a:lnTo>
                  <a:pt x="24" y="72403"/>
                </a:lnTo>
                <a:lnTo>
                  <a:pt x="237351" y="72403"/>
                </a:lnTo>
                <a:cubicBezTo>
                  <a:pt x="234172" y="66569"/>
                  <a:pt x="230922" y="60628"/>
                  <a:pt x="226136" y="56020"/>
                </a:cubicBezTo>
                <a:cubicBezTo>
                  <a:pt x="221955" y="51996"/>
                  <a:pt x="216340" y="49080"/>
                  <a:pt x="210615" y="49080"/>
                </a:cubicBezTo>
                <a:cubicBezTo>
                  <a:pt x="209785" y="49080"/>
                  <a:pt x="208952" y="49141"/>
                  <a:pt x="208121" y="49269"/>
                </a:cubicBezTo>
                <a:cubicBezTo>
                  <a:pt x="200930" y="50389"/>
                  <a:pt x="195084" y="56187"/>
                  <a:pt x="187857" y="57104"/>
                </a:cubicBezTo>
                <a:cubicBezTo>
                  <a:pt x="187177" y="57191"/>
                  <a:pt x="186499" y="57233"/>
                  <a:pt x="185824" y="57233"/>
                </a:cubicBezTo>
                <a:cubicBezTo>
                  <a:pt x="179715" y="57233"/>
                  <a:pt x="173869" y="53788"/>
                  <a:pt x="169355" y="49531"/>
                </a:cubicBezTo>
                <a:cubicBezTo>
                  <a:pt x="164330" y="44805"/>
                  <a:pt x="160413" y="39006"/>
                  <a:pt x="155424" y="34256"/>
                </a:cubicBezTo>
                <a:cubicBezTo>
                  <a:pt x="146597" y="25874"/>
                  <a:pt x="134399" y="21415"/>
                  <a:pt x="122252" y="21415"/>
                </a:cubicBezTo>
                <a:cubicBezTo>
                  <a:pt x="115246" y="21415"/>
                  <a:pt x="108257" y="22898"/>
                  <a:pt x="101941" y="25969"/>
                </a:cubicBezTo>
                <a:cubicBezTo>
                  <a:pt x="94274" y="29696"/>
                  <a:pt x="87154" y="35613"/>
                  <a:pt x="78629" y="35827"/>
                </a:cubicBezTo>
                <a:cubicBezTo>
                  <a:pt x="78465" y="35831"/>
                  <a:pt x="78302" y="35833"/>
                  <a:pt x="78140" y="35833"/>
                </a:cubicBezTo>
                <a:cubicBezTo>
                  <a:pt x="67113" y="35833"/>
                  <a:pt x="58547" y="26354"/>
                  <a:pt x="51554" y="17730"/>
                </a:cubicBezTo>
                <a:cubicBezTo>
                  <a:pt x="44662" y="9230"/>
                  <a:pt x="36063" y="1"/>
                  <a:pt x="25265" y="1"/>
                </a:cubicBezTo>
                <a:close/>
              </a:path>
            </a:pathLst>
          </a:cu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14"/>
          <p:cNvSpPr/>
          <p:nvPr/>
        </p:nvSpPr>
        <p:spPr>
          <a:xfrm rot="10800000">
            <a:off x="6456576" y="56"/>
            <a:ext cx="2687418" cy="819794"/>
          </a:xfrm>
          <a:custGeom>
            <a:avLst/>
            <a:gdLst/>
            <a:ahLst/>
            <a:cxnLst/>
            <a:rect l="l" t="t" r="r" b="b"/>
            <a:pathLst>
              <a:path w="237352" h="72404" extrusionOk="0">
                <a:moveTo>
                  <a:pt x="25265" y="1"/>
                </a:moveTo>
                <a:cubicBezTo>
                  <a:pt x="24946" y="1"/>
                  <a:pt x="24624" y="9"/>
                  <a:pt x="24301" y="25"/>
                </a:cubicBezTo>
                <a:cubicBezTo>
                  <a:pt x="14014" y="549"/>
                  <a:pt x="6358" y="9348"/>
                  <a:pt x="0" y="17432"/>
                </a:cubicBezTo>
                <a:lnTo>
                  <a:pt x="24" y="72403"/>
                </a:lnTo>
                <a:lnTo>
                  <a:pt x="237351" y="72403"/>
                </a:lnTo>
                <a:cubicBezTo>
                  <a:pt x="234172" y="66569"/>
                  <a:pt x="230922" y="60628"/>
                  <a:pt x="226136" y="56020"/>
                </a:cubicBezTo>
                <a:cubicBezTo>
                  <a:pt x="221955" y="51996"/>
                  <a:pt x="216340" y="49080"/>
                  <a:pt x="210615" y="49080"/>
                </a:cubicBezTo>
                <a:cubicBezTo>
                  <a:pt x="209785" y="49080"/>
                  <a:pt x="208952" y="49141"/>
                  <a:pt x="208121" y="49269"/>
                </a:cubicBezTo>
                <a:cubicBezTo>
                  <a:pt x="200930" y="50389"/>
                  <a:pt x="195084" y="56187"/>
                  <a:pt x="187857" y="57104"/>
                </a:cubicBezTo>
                <a:cubicBezTo>
                  <a:pt x="187177" y="57191"/>
                  <a:pt x="186499" y="57233"/>
                  <a:pt x="185824" y="57233"/>
                </a:cubicBezTo>
                <a:cubicBezTo>
                  <a:pt x="179715" y="57233"/>
                  <a:pt x="173869" y="53788"/>
                  <a:pt x="169355" y="49531"/>
                </a:cubicBezTo>
                <a:cubicBezTo>
                  <a:pt x="164330" y="44805"/>
                  <a:pt x="160413" y="39006"/>
                  <a:pt x="155424" y="34256"/>
                </a:cubicBezTo>
                <a:cubicBezTo>
                  <a:pt x="146597" y="25874"/>
                  <a:pt x="134399" y="21415"/>
                  <a:pt x="122252" y="21415"/>
                </a:cubicBezTo>
                <a:cubicBezTo>
                  <a:pt x="115246" y="21415"/>
                  <a:pt x="108257" y="22898"/>
                  <a:pt x="101941" y="25969"/>
                </a:cubicBezTo>
                <a:cubicBezTo>
                  <a:pt x="94274" y="29696"/>
                  <a:pt x="87154" y="35613"/>
                  <a:pt x="78629" y="35827"/>
                </a:cubicBezTo>
                <a:cubicBezTo>
                  <a:pt x="78465" y="35831"/>
                  <a:pt x="78302" y="35833"/>
                  <a:pt x="78140" y="35833"/>
                </a:cubicBezTo>
                <a:cubicBezTo>
                  <a:pt x="67113" y="35833"/>
                  <a:pt x="58547" y="26354"/>
                  <a:pt x="51554" y="17730"/>
                </a:cubicBezTo>
                <a:cubicBezTo>
                  <a:pt x="44662" y="9230"/>
                  <a:pt x="36063" y="1"/>
                  <a:pt x="25265" y="1"/>
                </a:cubicBezTo>
                <a:close/>
              </a:path>
            </a:pathLst>
          </a:cu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p14"/>
          <p:cNvSpPr/>
          <p:nvPr/>
        </p:nvSpPr>
        <p:spPr>
          <a:xfrm rot="10800000">
            <a:off x="6418177" y="43"/>
            <a:ext cx="2725823" cy="473504"/>
          </a:xfrm>
          <a:custGeom>
            <a:avLst/>
            <a:gdLst/>
            <a:ahLst/>
            <a:cxnLst/>
            <a:rect l="l" t="t" r="r" b="b"/>
            <a:pathLst>
              <a:path w="111634" h="19392" extrusionOk="0">
                <a:moveTo>
                  <a:pt x="17433" y="1"/>
                </a:moveTo>
                <a:cubicBezTo>
                  <a:pt x="14716" y="1"/>
                  <a:pt x="11947" y="743"/>
                  <a:pt x="9561" y="1913"/>
                </a:cubicBezTo>
                <a:cubicBezTo>
                  <a:pt x="5859" y="3735"/>
                  <a:pt x="2906" y="6473"/>
                  <a:pt x="1" y="9164"/>
                </a:cubicBezTo>
                <a:lnTo>
                  <a:pt x="13" y="19392"/>
                </a:lnTo>
                <a:lnTo>
                  <a:pt x="111634" y="19392"/>
                </a:lnTo>
                <a:cubicBezTo>
                  <a:pt x="109729" y="13701"/>
                  <a:pt x="104597" y="8878"/>
                  <a:pt x="98156" y="6747"/>
                </a:cubicBezTo>
                <a:cubicBezTo>
                  <a:pt x="95615" y="5905"/>
                  <a:pt x="92895" y="5490"/>
                  <a:pt x="90173" y="5490"/>
                </a:cubicBezTo>
                <a:cubicBezTo>
                  <a:pt x="86008" y="5490"/>
                  <a:pt x="81839" y="6461"/>
                  <a:pt x="78296" y="8355"/>
                </a:cubicBezTo>
                <a:cubicBezTo>
                  <a:pt x="74544" y="10355"/>
                  <a:pt x="70871" y="13455"/>
                  <a:pt x="66643" y="13455"/>
                </a:cubicBezTo>
                <a:cubicBezTo>
                  <a:pt x="66215" y="13455"/>
                  <a:pt x="65782" y="13423"/>
                  <a:pt x="65342" y="13355"/>
                </a:cubicBezTo>
                <a:cubicBezTo>
                  <a:pt x="60723" y="12643"/>
                  <a:pt x="57607" y="8057"/>
                  <a:pt x="52925" y="8057"/>
                </a:cubicBezTo>
                <a:cubicBezTo>
                  <a:pt x="52912" y="8057"/>
                  <a:pt x="52900" y="8057"/>
                  <a:pt x="52888" y="8057"/>
                </a:cubicBezTo>
                <a:cubicBezTo>
                  <a:pt x="48662" y="8081"/>
                  <a:pt x="45649" y="11855"/>
                  <a:pt x="41494" y="12522"/>
                </a:cubicBezTo>
                <a:cubicBezTo>
                  <a:pt x="41049" y="12593"/>
                  <a:pt x="40607" y="12627"/>
                  <a:pt x="40168" y="12627"/>
                </a:cubicBezTo>
                <a:cubicBezTo>
                  <a:pt x="36587" y="12627"/>
                  <a:pt x="33279" y="10372"/>
                  <a:pt x="30850" y="7986"/>
                </a:cubicBezTo>
                <a:cubicBezTo>
                  <a:pt x="28123" y="5295"/>
                  <a:pt x="25671" y="2151"/>
                  <a:pt x="21849" y="747"/>
                </a:cubicBezTo>
                <a:cubicBezTo>
                  <a:pt x="20443" y="231"/>
                  <a:pt x="18946" y="1"/>
                  <a:pt x="17433" y="1"/>
                </a:cubicBezTo>
                <a:close/>
              </a:path>
            </a:pathLst>
          </a:cu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4"/>
          <p:cNvSpPr txBox="1">
            <a:spLocks noGrp="1"/>
          </p:cNvSpPr>
          <p:nvPr>
            <p:ph type="title"/>
          </p:nvPr>
        </p:nvSpPr>
        <p:spPr>
          <a:xfrm>
            <a:off x="713275" y="445025"/>
            <a:ext cx="7717500" cy="74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713275" y="1646000"/>
            <a:ext cx="7717500" cy="2502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Font typeface="Lancelot"/>
              <a:buChar char="●"/>
              <a:defRPr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Char char="○"/>
              <a:defRPr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Char char="■"/>
              <a:defRPr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Char char="●"/>
              <a:defRPr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Char char="○"/>
              <a:defRPr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Char char="■"/>
              <a:defRPr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Char char="●"/>
              <a:defRPr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Char char="○"/>
              <a:defRPr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Char char="■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/>
          <p:nvPr/>
        </p:nvSpPr>
        <p:spPr>
          <a:xfrm rot="10800000">
            <a:off x="5789677" y="93"/>
            <a:ext cx="3354323" cy="582681"/>
          </a:xfrm>
          <a:custGeom>
            <a:avLst/>
            <a:gdLst/>
            <a:ahLst/>
            <a:cxnLst/>
            <a:rect l="l" t="t" r="r" b="b"/>
            <a:pathLst>
              <a:path w="111634" h="19392" extrusionOk="0">
                <a:moveTo>
                  <a:pt x="17433" y="1"/>
                </a:moveTo>
                <a:cubicBezTo>
                  <a:pt x="14716" y="1"/>
                  <a:pt x="11947" y="743"/>
                  <a:pt x="9561" y="1913"/>
                </a:cubicBezTo>
                <a:cubicBezTo>
                  <a:pt x="5859" y="3735"/>
                  <a:pt x="2906" y="6473"/>
                  <a:pt x="1" y="9164"/>
                </a:cubicBezTo>
                <a:lnTo>
                  <a:pt x="13" y="19392"/>
                </a:lnTo>
                <a:lnTo>
                  <a:pt x="111634" y="19392"/>
                </a:lnTo>
                <a:cubicBezTo>
                  <a:pt x="109729" y="13701"/>
                  <a:pt x="104597" y="8878"/>
                  <a:pt x="98156" y="6747"/>
                </a:cubicBezTo>
                <a:cubicBezTo>
                  <a:pt x="95615" y="5905"/>
                  <a:pt x="92895" y="5490"/>
                  <a:pt x="90173" y="5490"/>
                </a:cubicBezTo>
                <a:cubicBezTo>
                  <a:pt x="86008" y="5490"/>
                  <a:pt x="81839" y="6461"/>
                  <a:pt x="78296" y="8355"/>
                </a:cubicBezTo>
                <a:cubicBezTo>
                  <a:pt x="74544" y="10355"/>
                  <a:pt x="70871" y="13455"/>
                  <a:pt x="66643" y="13455"/>
                </a:cubicBezTo>
                <a:cubicBezTo>
                  <a:pt x="66215" y="13455"/>
                  <a:pt x="65782" y="13423"/>
                  <a:pt x="65342" y="13355"/>
                </a:cubicBezTo>
                <a:cubicBezTo>
                  <a:pt x="60723" y="12643"/>
                  <a:pt x="57607" y="8057"/>
                  <a:pt x="52925" y="8057"/>
                </a:cubicBezTo>
                <a:cubicBezTo>
                  <a:pt x="52912" y="8057"/>
                  <a:pt x="52900" y="8057"/>
                  <a:pt x="52888" y="8057"/>
                </a:cubicBezTo>
                <a:cubicBezTo>
                  <a:pt x="48662" y="8081"/>
                  <a:pt x="45649" y="11855"/>
                  <a:pt x="41494" y="12522"/>
                </a:cubicBezTo>
                <a:cubicBezTo>
                  <a:pt x="41049" y="12593"/>
                  <a:pt x="40607" y="12627"/>
                  <a:pt x="40168" y="12627"/>
                </a:cubicBezTo>
                <a:cubicBezTo>
                  <a:pt x="36587" y="12627"/>
                  <a:pt x="33279" y="10372"/>
                  <a:pt x="30850" y="7986"/>
                </a:cubicBezTo>
                <a:cubicBezTo>
                  <a:pt x="28123" y="5295"/>
                  <a:pt x="25671" y="2151"/>
                  <a:pt x="21849" y="747"/>
                </a:cubicBezTo>
                <a:cubicBezTo>
                  <a:pt x="20443" y="231"/>
                  <a:pt x="18946" y="1"/>
                  <a:pt x="17433" y="1"/>
                </a:cubicBezTo>
                <a:close/>
              </a:path>
            </a:pathLst>
          </a:cu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4"/>
          <p:cNvSpPr/>
          <p:nvPr/>
        </p:nvSpPr>
        <p:spPr>
          <a:xfrm rot="10800000">
            <a:off x="6753272" y="136"/>
            <a:ext cx="2390728" cy="729289"/>
          </a:xfrm>
          <a:custGeom>
            <a:avLst/>
            <a:gdLst/>
            <a:ahLst/>
            <a:cxnLst/>
            <a:rect l="l" t="t" r="r" b="b"/>
            <a:pathLst>
              <a:path w="237352" h="72404" extrusionOk="0">
                <a:moveTo>
                  <a:pt x="25265" y="1"/>
                </a:moveTo>
                <a:cubicBezTo>
                  <a:pt x="24946" y="1"/>
                  <a:pt x="24624" y="9"/>
                  <a:pt x="24301" y="25"/>
                </a:cubicBezTo>
                <a:cubicBezTo>
                  <a:pt x="14014" y="549"/>
                  <a:pt x="6358" y="9348"/>
                  <a:pt x="0" y="17432"/>
                </a:cubicBezTo>
                <a:lnTo>
                  <a:pt x="24" y="72403"/>
                </a:lnTo>
                <a:lnTo>
                  <a:pt x="237351" y="72403"/>
                </a:lnTo>
                <a:cubicBezTo>
                  <a:pt x="234172" y="66569"/>
                  <a:pt x="230922" y="60628"/>
                  <a:pt x="226136" y="56020"/>
                </a:cubicBezTo>
                <a:cubicBezTo>
                  <a:pt x="221955" y="51996"/>
                  <a:pt x="216340" y="49080"/>
                  <a:pt x="210615" y="49080"/>
                </a:cubicBezTo>
                <a:cubicBezTo>
                  <a:pt x="209785" y="49080"/>
                  <a:pt x="208952" y="49141"/>
                  <a:pt x="208121" y="49269"/>
                </a:cubicBezTo>
                <a:cubicBezTo>
                  <a:pt x="200930" y="50389"/>
                  <a:pt x="195084" y="56187"/>
                  <a:pt x="187857" y="57104"/>
                </a:cubicBezTo>
                <a:cubicBezTo>
                  <a:pt x="187177" y="57191"/>
                  <a:pt x="186499" y="57233"/>
                  <a:pt x="185824" y="57233"/>
                </a:cubicBezTo>
                <a:cubicBezTo>
                  <a:pt x="179715" y="57233"/>
                  <a:pt x="173869" y="53788"/>
                  <a:pt x="169355" y="49531"/>
                </a:cubicBezTo>
                <a:cubicBezTo>
                  <a:pt x="164330" y="44805"/>
                  <a:pt x="160413" y="39006"/>
                  <a:pt x="155424" y="34256"/>
                </a:cubicBezTo>
                <a:cubicBezTo>
                  <a:pt x="146597" y="25874"/>
                  <a:pt x="134399" y="21415"/>
                  <a:pt x="122252" y="21415"/>
                </a:cubicBezTo>
                <a:cubicBezTo>
                  <a:pt x="115246" y="21415"/>
                  <a:pt x="108257" y="22898"/>
                  <a:pt x="101941" y="25969"/>
                </a:cubicBezTo>
                <a:cubicBezTo>
                  <a:pt x="94274" y="29696"/>
                  <a:pt x="87154" y="35613"/>
                  <a:pt x="78629" y="35827"/>
                </a:cubicBezTo>
                <a:cubicBezTo>
                  <a:pt x="78465" y="35831"/>
                  <a:pt x="78302" y="35833"/>
                  <a:pt x="78140" y="35833"/>
                </a:cubicBezTo>
                <a:cubicBezTo>
                  <a:pt x="67113" y="35833"/>
                  <a:pt x="58547" y="26354"/>
                  <a:pt x="51554" y="17730"/>
                </a:cubicBezTo>
                <a:cubicBezTo>
                  <a:pt x="44662" y="9230"/>
                  <a:pt x="36063" y="1"/>
                  <a:pt x="25265" y="1"/>
                </a:cubicBezTo>
                <a:close/>
              </a:path>
            </a:pathLst>
          </a:cu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26;p4"/>
          <p:cNvSpPr/>
          <p:nvPr/>
        </p:nvSpPr>
        <p:spPr>
          <a:xfrm>
            <a:off x="2" y="4402895"/>
            <a:ext cx="2428111" cy="740693"/>
          </a:xfrm>
          <a:custGeom>
            <a:avLst/>
            <a:gdLst/>
            <a:ahLst/>
            <a:cxnLst/>
            <a:rect l="l" t="t" r="r" b="b"/>
            <a:pathLst>
              <a:path w="237352" h="72404" extrusionOk="0">
                <a:moveTo>
                  <a:pt x="25265" y="1"/>
                </a:moveTo>
                <a:cubicBezTo>
                  <a:pt x="24946" y="1"/>
                  <a:pt x="24624" y="9"/>
                  <a:pt x="24301" y="25"/>
                </a:cubicBezTo>
                <a:cubicBezTo>
                  <a:pt x="14014" y="549"/>
                  <a:pt x="6358" y="9348"/>
                  <a:pt x="0" y="17432"/>
                </a:cubicBezTo>
                <a:lnTo>
                  <a:pt x="24" y="72403"/>
                </a:lnTo>
                <a:lnTo>
                  <a:pt x="237351" y="72403"/>
                </a:lnTo>
                <a:cubicBezTo>
                  <a:pt x="234172" y="66569"/>
                  <a:pt x="230922" y="60628"/>
                  <a:pt x="226136" y="56020"/>
                </a:cubicBezTo>
                <a:cubicBezTo>
                  <a:pt x="221955" y="51996"/>
                  <a:pt x="216340" y="49080"/>
                  <a:pt x="210615" y="49080"/>
                </a:cubicBezTo>
                <a:cubicBezTo>
                  <a:pt x="209785" y="49080"/>
                  <a:pt x="208952" y="49141"/>
                  <a:pt x="208121" y="49269"/>
                </a:cubicBezTo>
                <a:cubicBezTo>
                  <a:pt x="200930" y="50389"/>
                  <a:pt x="195084" y="56187"/>
                  <a:pt x="187857" y="57104"/>
                </a:cubicBezTo>
                <a:cubicBezTo>
                  <a:pt x="187177" y="57191"/>
                  <a:pt x="186499" y="57233"/>
                  <a:pt x="185824" y="57233"/>
                </a:cubicBezTo>
                <a:cubicBezTo>
                  <a:pt x="179715" y="57233"/>
                  <a:pt x="173869" y="53788"/>
                  <a:pt x="169355" y="49531"/>
                </a:cubicBezTo>
                <a:cubicBezTo>
                  <a:pt x="164330" y="44805"/>
                  <a:pt x="160413" y="39006"/>
                  <a:pt x="155424" y="34256"/>
                </a:cubicBezTo>
                <a:cubicBezTo>
                  <a:pt x="146597" y="25874"/>
                  <a:pt x="134399" y="21415"/>
                  <a:pt x="122252" y="21415"/>
                </a:cubicBezTo>
                <a:cubicBezTo>
                  <a:pt x="115246" y="21415"/>
                  <a:pt x="108257" y="22898"/>
                  <a:pt x="101941" y="25969"/>
                </a:cubicBezTo>
                <a:cubicBezTo>
                  <a:pt x="94274" y="29696"/>
                  <a:pt x="87154" y="35613"/>
                  <a:pt x="78629" y="35827"/>
                </a:cubicBezTo>
                <a:cubicBezTo>
                  <a:pt x="78465" y="35831"/>
                  <a:pt x="78302" y="35833"/>
                  <a:pt x="78140" y="35833"/>
                </a:cubicBezTo>
                <a:cubicBezTo>
                  <a:pt x="67113" y="35833"/>
                  <a:pt x="58547" y="26354"/>
                  <a:pt x="51554" y="17730"/>
                </a:cubicBezTo>
                <a:cubicBezTo>
                  <a:pt x="44662" y="9230"/>
                  <a:pt x="36063" y="1"/>
                  <a:pt x="25265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27;p4"/>
          <p:cNvSpPr/>
          <p:nvPr/>
        </p:nvSpPr>
        <p:spPr>
          <a:xfrm>
            <a:off x="-3" y="4715763"/>
            <a:ext cx="2462646" cy="427788"/>
          </a:xfrm>
          <a:custGeom>
            <a:avLst/>
            <a:gdLst/>
            <a:ahLst/>
            <a:cxnLst/>
            <a:rect l="l" t="t" r="r" b="b"/>
            <a:pathLst>
              <a:path w="111634" h="19392" extrusionOk="0">
                <a:moveTo>
                  <a:pt x="17433" y="1"/>
                </a:moveTo>
                <a:cubicBezTo>
                  <a:pt x="14716" y="1"/>
                  <a:pt x="11947" y="743"/>
                  <a:pt x="9561" y="1913"/>
                </a:cubicBezTo>
                <a:cubicBezTo>
                  <a:pt x="5859" y="3735"/>
                  <a:pt x="2906" y="6473"/>
                  <a:pt x="1" y="9164"/>
                </a:cubicBezTo>
                <a:lnTo>
                  <a:pt x="13" y="19392"/>
                </a:lnTo>
                <a:lnTo>
                  <a:pt x="111634" y="19392"/>
                </a:lnTo>
                <a:cubicBezTo>
                  <a:pt x="109729" y="13701"/>
                  <a:pt x="104597" y="8878"/>
                  <a:pt x="98156" y="6747"/>
                </a:cubicBezTo>
                <a:cubicBezTo>
                  <a:pt x="95615" y="5905"/>
                  <a:pt x="92895" y="5490"/>
                  <a:pt x="90173" y="5490"/>
                </a:cubicBezTo>
                <a:cubicBezTo>
                  <a:pt x="86008" y="5490"/>
                  <a:pt x="81839" y="6461"/>
                  <a:pt x="78296" y="8355"/>
                </a:cubicBezTo>
                <a:cubicBezTo>
                  <a:pt x="74544" y="10355"/>
                  <a:pt x="70871" y="13455"/>
                  <a:pt x="66643" y="13455"/>
                </a:cubicBezTo>
                <a:cubicBezTo>
                  <a:pt x="66215" y="13455"/>
                  <a:pt x="65782" y="13423"/>
                  <a:pt x="65342" y="13355"/>
                </a:cubicBezTo>
                <a:cubicBezTo>
                  <a:pt x="60723" y="12643"/>
                  <a:pt x="57607" y="8057"/>
                  <a:pt x="52925" y="8057"/>
                </a:cubicBezTo>
                <a:cubicBezTo>
                  <a:pt x="52912" y="8057"/>
                  <a:pt x="52900" y="8057"/>
                  <a:pt x="52888" y="8057"/>
                </a:cubicBezTo>
                <a:cubicBezTo>
                  <a:pt x="48662" y="8081"/>
                  <a:pt x="45649" y="11855"/>
                  <a:pt x="41494" y="12522"/>
                </a:cubicBezTo>
                <a:cubicBezTo>
                  <a:pt x="41049" y="12593"/>
                  <a:pt x="40607" y="12627"/>
                  <a:pt x="40168" y="12627"/>
                </a:cubicBezTo>
                <a:cubicBezTo>
                  <a:pt x="36587" y="12627"/>
                  <a:pt x="33279" y="10372"/>
                  <a:pt x="30850" y="7986"/>
                </a:cubicBezTo>
                <a:cubicBezTo>
                  <a:pt x="28123" y="5295"/>
                  <a:pt x="25671" y="2151"/>
                  <a:pt x="21849" y="747"/>
                </a:cubicBezTo>
                <a:cubicBezTo>
                  <a:pt x="20443" y="231"/>
                  <a:pt x="18946" y="1"/>
                  <a:pt x="17433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5"/>
          <p:cNvSpPr/>
          <p:nvPr/>
        </p:nvSpPr>
        <p:spPr>
          <a:xfrm>
            <a:off x="0" y="1943100"/>
            <a:ext cx="9143957" cy="3200365"/>
          </a:xfrm>
          <a:custGeom>
            <a:avLst/>
            <a:gdLst/>
            <a:ahLst/>
            <a:cxnLst/>
            <a:rect l="l" t="t" r="r" b="b"/>
            <a:pathLst>
              <a:path w="142852" h="28430" extrusionOk="0">
                <a:moveTo>
                  <a:pt x="21147" y="0"/>
                </a:moveTo>
                <a:cubicBezTo>
                  <a:pt x="13697" y="0"/>
                  <a:pt x="6296" y="1895"/>
                  <a:pt x="0" y="5926"/>
                </a:cubicBezTo>
                <a:lnTo>
                  <a:pt x="0" y="28429"/>
                </a:lnTo>
                <a:lnTo>
                  <a:pt x="142852" y="28429"/>
                </a:lnTo>
                <a:lnTo>
                  <a:pt x="142852" y="12344"/>
                </a:lnTo>
                <a:cubicBezTo>
                  <a:pt x="141208" y="8629"/>
                  <a:pt x="136870" y="7022"/>
                  <a:pt x="132811" y="7022"/>
                </a:cubicBezTo>
                <a:cubicBezTo>
                  <a:pt x="132460" y="7022"/>
                  <a:pt x="132112" y="7034"/>
                  <a:pt x="131767" y="7058"/>
                </a:cubicBezTo>
                <a:cubicBezTo>
                  <a:pt x="127433" y="7355"/>
                  <a:pt x="123278" y="9010"/>
                  <a:pt x="118944" y="9391"/>
                </a:cubicBezTo>
                <a:cubicBezTo>
                  <a:pt x="118253" y="9452"/>
                  <a:pt x="117565" y="9481"/>
                  <a:pt x="116879" y="9481"/>
                </a:cubicBezTo>
                <a:cubicBezTo>
                  <a:pt x="105909" y="9481"/>
                  <a:pt x="95570" y="2116"/>
                  <a:pt x="84530" y="2116"/>
                </a:cubicBezTo>
                <a:cubicBezTo>
                  <a:pt x="84167" y="2116"/>
                  <a:pt x="83804" y="2124"/>
                  <a:pt x="83439" y="2140"/>
                </a:cubicBezTo>
                <a:cubicBezTo>
                  <a:pt x="74022" y="2554"/>
                  <a:pt x="65358" y="8595"/>
                  <a:pt x="56005" y="8595"/>
                </a:cubicBezTo>
                <a:cubicBezTo>
                  <a:pt x="55661" y="8595"/>
                  <a:pt x="55317" y="8587"/>
                  <a:pt x="54972" y="8570"/>
                </a:cubicBezTo>
                <a:cubicBezTo>
                  <a:pt x="48328" y="8236"/>
                  <a:pt x="42315" y="4724"/>
                  <a:pt x="36029" y="2533"/>
                </a:cubicBezTo>
                <a:cubicBezTo>
                  <a:pt x="31264" y="870"/>
                  <a:pt x="26194" y="0"/>
                  <a:pt x="21147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title"/>
          </p:nvPr>
        </p:nvSpPr>
        <p:spPr>
          <a:xfrm>
            <a:off x="713275" y="445025"/>
            <a:ext cx="7717500" cy="74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title" idx="2"/>
          </p:nvPr>
        </p:nvSpPr>
        <p:spPr>
          <a:xfrm>
            <a:off x="1362575" y="2917125"/>
            <a:ext cx="2809500" cy="527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subTitle" idx="1"/>
          </p:nvPr>
        </p:nvSpPr>
        <p:spPr>
          <a:xfrm>
            <a:off x="1362575" y="3346673"/>
            <a:ext cx="2809500" cy="104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title" idx="3"/>
          </p:nvPr>
        </p:nvSpPr>
        <p:spPr>
          <a:xfrm>
            <a:off x="4971975" y="2917125"/>
            <a:ext cx="2809500" cy="527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subTitle" idx="4"/>
          </p:nvPr>
        </p:nvSpPr>
        <p:spPr>
          <a:xfrm>
            <a:off x="4971975" y="3346673"/>
            <a:ext cx="2809500" cy="104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5"/>
          <p:cNvSpPr/>
          <p:nvPr/>
        </p:nvSpPr>
        <p:spPr>
          <a:xfrm>
            <a:off x="-8" y="4487523"/>
            <a:ext cx="3776299" cy="655983"/>
          </a:xfrm>
          <a:custGeom>
            <a:avLst/>
            <a:gdLst/>
            <a:ahLst/>
            <a:cxnLst/>
            <a:rect l="l" t="t" r="r" b="b"/>
            <a:pathLst>
              <a:path w="111634" h="19392" extrusionOk="0">
                <a:moveTo>
                  <a:pt x="17433" y="1"/>
                </a:moveTo>
                <a:cubicBezTo>
                  <a:pt x="14716" y="1"/>
                  <a:pt x="11947" y="743"/>
                  <a:pt x="9561" y="1913"/>
                </a:cubicBezTo>
                <a:cubicBezTo>
                  <a:pt x="5859" y="3735"/>
                  <a:pt x="2906" y="6473"/>
                  <a:pt x="1" y="9164"/>
                </a:cubicBezTo>
                <a:lnTo>
                  <a:pt x="13" y="19392"/>
                </a:lnTo>
                <a:lnTo>
                  <a:pt x="111634" y="19392"/>
                </a:lnTo>
                <a:cubicBezTo>
                  <a:pt x="109729" y="13701"/>
                  <a:pt x="104597" y="8878"/>
                  <a:pt x="98156" y="6747"/>
                </a:cubicBezTo>
                <a:cubicBezTo>
                  <a:pt x="95615" y="5905"/>
                  <a:pt x="92895" y="5490"/>
                  <a:pt x="90173" y="5490"/>
                </a:cubicBezTo>
                <a:cubicBezTo>
                  <a:pt x="86008" y="5490"/>
                  <a:pt x="81839" y="6461"/>
                  <a:pt x="78296" y="8355"/>
                </a:cubicBezTo>
                <a:cubicBezTo>
                  <a:pt x="74544" y="10355"/>
                  <a:pt x="70871" y="13455"/>
                  <a:pt x="66643" y="13455"/>
                </a:cubicBezTo>
                <a:cubicBezTo>
                  <a:pt x="66215" y="13455"/>
                  <a:pt x="65782" y="13423"/>
                  <a:pt x="65342" y="13355"/>
                </a:cubicBezTo>
                <a:cubicBezTo>
                  <a:pt x="60723" y="12643"/>
                  <a:pt x="57607" y="8057"/>
                  <a:pt x="52925" y="8057"/>
                </a:cubicBezTo>
                <a:cubicBezTo>
                  <a:pt x="52912" y="8057"/>
                  <a:pt x="52900" y="8057"/>
                  <a:pt x="52888" y="8057"/>
                </a:cubicBezTo>
                <a:cubicBezTo>
                  <a:pt x="48662" y="8081"/>
                  <a:pt x="45649" y="11855"/>
                  <a:pt x="41494" y="12522"/>
                </a:cubicBezTo>
                <a:cubicBezTo>
                  <a:pt x="41049" y="12593"/>
                  <a:pt x="40607" y="12627"/>
                  <a:pt x="40168" y="12627"/>
                </a:cubicBezTo>
                <a:cubicBezTo>
                  <a:pt x="36587" y="12627"/>
                  <a:pt x="33279" y="10372"/>
                  <a:pt x="30850" y="7986"/>
                </a:cubicBezTo>
                <a:cubicBezTo>
                  <a:pt x="28123" y="5295"/>
                  <a:pt x="25671" y="2151"/>
                  <a:pt x="21849" y="747"/>
                </a:cubicBezTo>
                <a:cubicBezTo>
                  <a:pt x="20443" y="231"/>
                  <a:pt x="18946" y="1"/>
                  <a:pt x="17433" y="1"/>
                </a:cubicBezTo>
                <a:close/>
              </a:path>
            </a:pathLst>
          </a:cu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" name="Google Shape;36;p5"/>
          <p:cNvSpPr/>
          <p:nvPr/>
        </p:nvSpPr>
        <p:spPr>
          <a:xfrm rot="10800000">
            <a:off x="6472682" y="0"/>
            <a:ext cx="3723459" cy="1135838"/>
          </a:xfrm>
          <a:custGeom>
            <a:avLst/>
            <a:gdLst/>
            <a:ahLst/>
            <a:cxnLst/>
            <a:rect l="l" t="t" r="r" b="b"/>
            <a:pathLst>
              <a:path w="237352" h="72404" extrusionOk="0">
                <a:moveTo>
                  <a:pt x="25265" y="1"/>
                </a:moveTo>
                <a:cubicBezTo>
                  <a:pt x="24946" y="1"/>
                  <a:pt x="24624" y="9"/>
                  <a:pt x="24301" y="25"/>
                </a:cubicBezTo>
                <a:cubicBezTo>
                  <a:pt x="14014" y="549"/>
                  <a:pt x="6358" y="9348"/>
                  <a:pt x="0" y="17432"/>
                </a:cubicBezTo>
                <a:lnTo>
                  <a:pt x="24" y="72403"/>
                </a:lnTo>
                <a:lnTo>
                  <a:pt x="237351" y="72403"/>
                </a:lnTo>
                <a:cubicBezTo>
                  <a:pt x="234172" y="66569"/>
                  <a:pt x="230922" y="60628"/>
                  <a:pt x="226136" y="56020"/>
                </a:cubicBezTo>
                <a:cubicBezTo>
                  <a:pt x="221955" y="51996"/>
                  <a:pt x="216340" y="49080"/>
                  <a:pt x="210615" y="49080"/>
                </a:cubicBezTo>
                <a:cubicBezTo>
                  <a:pt x="209785" y="49080"/>
                  <a:pt x="208952" y="49141"/>
                  <a:pt x="208121" y="49269"/>
                </a:cubicBezTo>
                <a:cubicBezTo>
                  <a:pt x="200930" y="50389"/>
                  <a:pt x="195084" y="56187"/>
                  <a:pt x="187857" y="57104"/>
                </a:cubicBezTo>
                <a:cubicBezTo>
                  <a:pt x="187177" y="57191"/>
                  <a:pt x="186499" y="57233"/>
                  <a:pt x="185824" y="57233"/>
                </a:cubicBezTo>
                <a:cubicBezTo>
                  <a:pt x="179715" y="57233"/>
                  <a:pt x="173869" y="53788"/>
                  <a:pt x="169355" y="49531"/>
                </a:cubicBezTo>
                <a:cubicBezTo>
                  <a:pt x="164330" y="44805"/>
                  <a:pt x="160413" y="39006"/>
                  <a:pt x="155424" y="34256"/>
                </a:cubicBezTo>
                <a:cubicBezTo>
                  <a:pt x="146597" y="25874"/>
                  <a:pt x="134399" y="21415"/>
                  <a:pt x="122252" y="21415"/>
                </a:cubicBezTo>
                <a:cubicBezTo>
                  <a:pt x="115246" y="21415"/>
                  <a:pt x="108257" y="22898"/>
                  <a:pt x="101941" y="25969"/>
                </a:cubicBezTo>
                <a:cubicBezTo>
                  <a:pt x="94274" y="29696"/>
                  <a:pt x="87154" y="35613"/>
                  <a:pt x="78629" y="35827"/>
                </a:cubicBezTo>
                <a:cubicBezTo>
                  <a:pt x="78465" y="35831"/>
                  <a:pt x="78302" y="35833"/>
                  <a:pt x="78140" y="35833"/>
                </a:cubicBezTo>
                <a:cubicBezTo>
                  <a:pt x="67113" y="35833"/>
                  <a:pt x="58547" y="26354"/>
                  <a:pt x="51554" y="17730"/>
                </a:cubicBezTo>
                <a:cubicBezTo>
                  <a:pt x="44662" y="9230"/>
                  <a:pt x="36063" y="1"/>
                  <a:pt x="25265" y="1"/>
                </a:cubicBezTo>
                <a:close/>
              </a:path>
            </a:pathLst>
          </a:cu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5"/>
          <p:cNvSpPr/>
          <p:nvPr/>
        </p:nvSpPr>
        <p:spPr>
          <a:xfrm rot="10800000">
            <a:off x="5808550" y="82"/>
            <a:ext cx="3776299" cy="655983"/>
          </a:xfrm>
          <a:custGeom>
            <a:avLst/>
            <a:gdLst/>
            <a:ahLst/>
            <a:cxnLst/>
            <a:rect l="l" t="t" r="r" b="b"/>
            <a:pathLst>
              <a:path w="111634" h="19392" extrusionOk="0">
                <a:moveTo>
                  <a:pt x="17433" y="1"/>
                </a:moveTo>
                <a:cubicBezTo>
                  <a:pt x="14716" y="1"/>
                  <a:pt x="11947" y="743"/>
                  <a:pt x="9561" y="1913"/>
                </a:cubicBezTo>
                <a:cubicBezTo>
                  <a:pt x="5859" y="3735"/>
                  <a:pt x="2906" y="6473"/>
                  <a:pt x="1" y="9164"/>
                </a:cubicBezTo>
                <a:lnTo>
                  <a:pt x="13" y="19392"/>
                </a:lnTo>
                <a:lnTo>
                  <a:pt x="111634" y="19392"/>
                </a:lnTo>
                <a:cubicBezTo>
                  <a:pt x="109729" y="13701"/>
                  <a:pt x="104597" y="8878"/>
                  <a:pt x="98156" y="6747"/>
                </a:cubicBezTo>
                <a:cubicBezTo>
                  <a:pt x="95615" y="5905"/>
                  <a:pt x="92895" y="5490"/>
                  <a:pt x="90173" y="5490"/>
                </a:cubicBezTo>
                <a:cubicBezTo>
                  <a:pt x="86008" y="5490"/>
                  <a:pt x="81839" y="6461"/>
                  <a:pt x="78296" y="8355"/>
                </a:cubicBezTo>
                <a:cubicBezTo>
                  <a:pt x="74544" y="10355"/>
                  <a:pt x="70871" y="13455"/>
                  <a:pt x="66643" y="13455"/>
                </a:cubicBezTo>
                <a:cubicBezTo>
                  <a:pt x="66215" y="13455"/>
                  <a:pt x="65782" y="13423"/>
                  <a:pt x="65342" y="13355"/>
                </a:cubicBezTo>
                <a:cubicBezTo>
                  <a:pt x="60723" y="12643"/>
                  <a:pt x="57607" y="8057"/>
                  <a:pt x="52925" y="8057"/>
                </a:cubicBezTo>
                <a:cubicBezTo>
                  <a:pt x="52912" y="8057"/>
                  <a:pt x="52900" y="8057"/>
                  <a:pt x="52888" y="8057"/>
                </a:cubicBezTo>
                <a:cubicBezTo>
                  <a:pt x="48662" y="8081"/>
                  <a:pt x="45649" y="11855"/>
                  <a:pt x="41494" y="12522"/>
                </a:cubicBezTo>
                <a:cubicBezTo>
                  <a:pt x="41049" y="12593"/>
                  <a:pt x="40607" y="12627"/>
                  <a:pt x="40168" y="12627"/>
                </a:cubicBezTo>
                <a:cubicBezTo>
                  <a:pt x="36587" y="12627"/>
                  <a:pt x="33279" y="10372"/>
                  <a:pt x="30850" y="7986"/>
                </a:cubicBezTo>
                <a:cubicBezTo>
                  <a:pt x="28123" y="5295"/>
                  <a:pt x="25671" y="2151"/>
                  <a:pt x="21849" y="747"/>
                </a:cubicBezTo>
                <a:cubicBezTo>
                  <a:pt x="20443" y="231"/>
                  <a:pt x="18946" y="1"/>
                  <a:pt x="17433" y="1"/>
                </a:cubicBezTo>
                <a:close/>
              </a:path>
            </a:pathLst>
          </a:cu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5"/>
          <p:cNvSpPr/>
          <p:nvPr/>
        </p:nvSpPr>
        <p:spPr>
          <a:xfrm>
            <a:off x="8625750" y="1099629"/>
            <a:ext cx="959100" cy="959100"/>
          </a:xfrm>
          <a:prstGeom prst="ellipse">
            <a:avLst/>
          </a:pr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5"/>
          <p:cNvSpPr/>
          <p:nvPr/>
        </p:nvSpPr>
        <p:spPr>
          <a:xfrm>
            <a:off x="-611300" y="4007750"/>
            <a:ext cx="3723459" cy="1135838"/>
          </a:xfrm>
          <a:custGeom>
            <a:avLst/>
            <a:gdLst/>
            <a:ahLst/>
            <a:cxnLst/>
            <a:rect l="l" t="t" r="r" b="b"/>
            <a:pathLst>
              <a:path w="237352" h="72404" extrusionOk="0">
                <a:moveTo>
                  <a:pt x="25265" y="1"/>
                </a:moveTo>
                <a:cubicBezTo>
                  <a:pt x="24946" y="1"/>
                  <a:pt x="24624" y="9"/>
                  <a:pt x="24301" y="25"/>
                </a:cubicBezTo>
                <a:cubicBezTo>
                  <a:pt x="14014" y="549"/>
                  <a:pt x="6358" y="9348"/>
                  <a:pt x="0" y="17432"/>
                </a:cubicBezTo>
                <a:lnTo>
                  <a:pt x="24" y="72403"/>
                </a:lnTo>
                <a:lnTo>
                  <a:pt x="237351" y="72403"/>
                </a:lnTo>
                <a:cubicBezTo>
                  <a:pt x="234172" y="66569"/>
                  <a:pt x="230922" y="60628"/>
                  <a:pt x="226136" y="56020"/>
                </a:cubicBezTo>
                <a:cubicBezTo>
                  <a:pt x="221955" y="51996"/>
                  <a:pt x="216340" y="49080"/>
                  <a:pt x="210615" y="49080"/>
                </a:cubicBezTo>
                <a:cubicBezTo>
                  <a:pt x="209785" y="49080"/>
                  <a:pt x="208952" y="49141"/>
                  <a:pt x="208121" y="49269"/>
                </a:cubicBezTo>
                <a:cubicBezTo>
                  <a:pt x="200930" y="50389"/>
                  <a:pt x="195084" y="56187"/>
                  <a:pt x="187857" y="57104"/>
                </a:cubicBezTo>
                <a:cubicBezTo>
                  <a:pt x="187177" y="57191"/>
                  <a:pt x="186499" y="57233"/>
                  <a:pt x="185824" y="57233"/>
                </a:cubicBezTo>
                <a:cubicBezTo>
                  <a:pt x="179715" y="57233"/>
                  <a:pt x="173869" y="53788"/>
                  <a:pt x="169355" y="49531"/>
                </a:cubicBezTo>
                <a:cubicBezTo>
                  <a:pt x="164330" y="44805"/>
                  <a:pt x="160413" y="39006"/>
                  <a:pt x="155424" y="34256"/>
                </a:cubicBezTo>
                <a:cubicBezTo>
                  <a:pt x="146597" y="25874"/>
                  <a:pt x="134399" y="21415"/>
                  <a:pt x="122252" y="21415"/>
                </a:cubicBezTo>
                <a:cubicBezTo>
                  <a:pt x="115246" y="21415"/>
                  <a:pt x="108257" y="22898"/>
                  <a:pt x="101941" y="25969"/>
                </a:cubicBezTo>
                <a:cubicBezTo>
                  <a:pt x="94274" y="29696"/>
                  <a:pt x="87154" y="35613"/>
                  <a:pt x="78629" y="35827"/>
                </a:cubicBezTo>
                <a:cubicBezTo>
                  <a:pt x="78465" y="35831"/>
                  <a:pt x="78302" y="35833"/>
                  <a:pt x="78140" y="35833"/>
                </a:cubicBezTo>
                <a:cubicBezTo>
                  <a:pt x="67113" y="35833"/>
                  <a:pt x="58547" y="26354"/>
                  <a:pt x="51554" y="17730"/>
                </a:cubicBezTo>
                <a:cubicBezTo>
                  <a:pt x="44662" y="9230"/>
                  <a:pt x="36063" y="1"/>
                  <a:pt x="25265" y="1"/>
                </a:cubicBezTo>
                <a:close/>
              </a:path>
            </a:pathLst>
          </a:cu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7"/>
          <p:cNvSpPr/>
          <p:nvPr/>
        </p:nvSpPr>
        <p:spPr>
          <a:xfrm>
            <a:off x="-1428450" y="3001665"/>
            <a:ext cx="6291452" cy="2141830"/>
          </a:xfrm>
          <a:custGeom>
            <a:avLst/>
            <a:gdLst/>
            <a:ahLst/>
            <a:cxnLst/>
            <a:rect l="l" t="t" r="r" b="b"/>
            <a:pathLst>
              <a:path w="29571" h="10067" extrusionOk="0">
                <a:moveTo>
                  <a:pt x="10181" y="0"/>
                </a:moveTo>
                <a:cubicBezTo>
                  <a:pt x="5410" y="0"/>
                  <a:pt x="2293" y="2806"/>
                  <a:pt x="0" y="10066"/>
                </a:cubicBezTo>
                <a:lnTo>
                  <a:pt x="29570" y="10066"/>
                </a:lnTo>
                <a:cubicBezTo>
                  <a:pt x="16901" y="4324"/>
                  <a:pt x="15443" y="0"/>
                  <a:pt x="10181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59;p7"/>
          <p:cNvSpPr/>
          <p:nvPr/>
        </p:nvSpPr>
        <p:spPr>
          <a:xfrm rot="10800000">
            <a:off x="1931774" y="-9"/>
            <a:ext cx="8600799" cy="2928062"/>
          </a:xfrm>
          <a:custGeom>
            <a:avLst/>
            <a:gdLst/>
            <a:ahLst/>
            <a:cxnLst/>
            <a:rect l="l" t="t" r="r" b="b"/>
            <a:pathLst>
              <a:path w="29571" h="10067" extrusionOk="0">
                <a:moveTo>
                  <a:pt x="10181" y="0"/>
                </a:moveTo>
                <a:cubicBezTo>
                  <a:pt x="5410" y="0"/>
                  <a:pt x="2293" y="2806"/>
                  <a:pt x="0" y="10066"/>
                </a:cubicBezTo>
                <a:lnTo>
                  <a:pt x="29570" y="10066"/>
                </a:lnTo>
                <a:cubicBezTo>
                  <a:pt x="16901" y="4324"/>
                  <a:pt x="15443" y="0"/>
                  <a:pt x="10181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60;p7"/>
          <p:cNvSpPr/>
          <p:nvPr/>
        </p:nvSpPr>
        <p:spPr>
          <a:xfrm rot="10800000" flipH="1">
            <a:off x="25" y="4396441"/>
            <a:ext cx="2428825" cy="747059"/>
          </a:xfrm>
          <a:custGeom>
            <a:avLst/>
            <a:gdLst/>
            <a:ahLst/>
            <a:cxnLst/>
            <a:rect l="l" t="t" r="r" b="b"/>
            <a:pathLst>
              <a:path w="37492" h="14542" extrusionOk="0">
                <a:moveTo>
                  <a:pt x="1" y="0"/>
                </a:moveTo>
                <a:lnTo>
                  <a:pt x="1" y="10099"/>
                </a:lnTo>
                <a:cubicBezTo>
                  <a:pt x="1128" y="12447"/>
                  <a:pt x="3160" y="14542"/>
                  <a:pt x="5531" y="14542"/>
                </a:cubicBezTo>
                <a:cubicBezTo>
                  <a:pt x="5928" y="14542"/>
                  <a:pt x="6335" y="14483"/>
                  <a:pt x="6748" y="14357"/>
                </a:cubicBezTo>
                <a:cubicBezTo>
                  <a:pt x="10645" y="13167"/>
                  <a:pt x="12048" y="9013"/>
                  <a:pt x="15247" y="7703"/>
                </a:cubicBezTo>
                <a:cubicBezTo>
                  <a:pt x="15945" y="7416"/>
                  <a:pt x="16655" y="7304"/>
                  <a:pt x="17363" y="7304"/>
                </a:cubicBezTo>
                <a:cubicBezTo>
                  <a:pt x="18715" y="7304"/>
                  <a:pt x="20059" y="7714"/>
                  <a:pt x="21285" y="8101"/>
                </a:cubicBezTo>
                <a:cubicBezTo>
                  <a:pt x="23881" y="8921"/>
                  <a:pt x="26534" y="9688"/>
                  <a:pt x="28911" y="9688"/>
                </a:cubicBezTo>
                <a:cubicBezTo>
                  <a:pt x="29383" y="9688"/>
                  <a:pt x="29844" y="9657"/>
                  <a:pt x="30292" y="9591"/>
                </a:cubicBezTo>
                <a:cubicBezTo>
                  <a:pt x="33807" y="9073"/>
                  <a:pt x="35663" y="7594"/>
                  <a:pt x="36880" y="4367"/>
                </a:cubicBezTo>
                <a:cubicBezTo>
                  <a:pt x="37388" y="3014"/>
                  <a:pt x="37492" y="1545"/>
                  <a:pt x="37393" y="0"/>
                </a:cubicBezTo>
                <a:close/>
              </a:path>
            </a:pathLst>
          </a:cu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61;p7"/>
          <p:cNvSpPr/>
          <p:nvPr/>
        </p:nvSpPr>
        <p:spPr>
          <a:xfrm flipH="1">
            <a:off x="5791184" y="0"/>
            <a:ext cx="3352816" cy="1300455"/>
          </a:xfrm>
          <a:custGeom>
            <a:avLst/>
            <a:gdLst/>
            <a:ahLst/>
            <a:cxnLst/>
            <a:rect l="l" t="t" r="r" b="b"/>
            <a:pathLst>
              <a:path w="37492" h="14542" extrusionOk="0">
                <a:moveTo>
                  <a:pt x="1" y="0"/>
                </a:moveTo>
                <a:lnTo>
                  <a:pt x="1" y="10099"/>
                </a:lnTo>
                <a:cubicBezTo>
                  <a:pt x="1128" y="12447"/>
                  <a:pt x="3160" y="14542"/>
                  <a:pt x="5531" y="14542"/>
                </a:cubicBezTo>
                <a:cubicBezTo>
                  <a:pt x="5928" y="14542"/>
                  <a:pt x="6335" y="14483"/>
                  <a:pt x="6748" y="14357"/>
                </a:cubicBezTo>
                <a:cubicBezTo>
                  <a:pt x="10645" y="13167"/>
                  <a:pt x="12048" y="9013"/>
                  <a:pt x="15247" y="7703"/>
                </a:cubicBezTo>
                <a:cubicBezTo>
                  <a:pt x="15945" y="7416"/>
                  <a:pt x="16655" y="7304"/>
                  <a:pt x="17363" y="7304"/>
                </a:cubicBezTo>
                <a:cubicBezTo>
                  <a:pt x="18715" y="7304"/>
                  <a:pt x="20059" y="7714"/>
                  <a:pt x="21285" y="8101"/>
                </a:cubicBezTo>
                <a:cubicBezTo>
                  <a:pt x="23881" y="8921"/>
                  <a:pt x="26534" y="9688"/>
                  <a:pt x="28911" y="9688"/>
                </a:cubicBezTo>
                <a:cubicBezTo>
                  <a:pt x="29383" y="9688"/>
                  <a:pt x="29844" y="9657"/>
                  <a:pt x="30292" y="9591"/>
                </a:cubicBezTo>
                <a:cubicBezTo>
                  <a:pt x="33807" y="9073"/>
                  <a:pt x="35663" y="7594"/>
                  <a:pt x="36880" y="4367"/>
                </a:cubicBezTo>
                <a:cubicBezTo>
                  <a:pt x="37388" y="3014"/>
                  <a:pt x="37492" y="1545"/>
                  <a:pt x="37393" y="0"/>
                </a:cubicBezTo>
                <a:close/>
              </a:path>
            </a:pathLst>
          </a:cu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62;p7"/>
          <p:cNvSpPr/>
          <p:nvPr/>
        </p:nvSpPr>
        <p:spPr>
          <a:xfrm>
            <a:off x="523950" y="542925"/>
            <a:ext cx="8124900" cy="40611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63;p7"/>
          <p:cNvSpPr txBox="1">
            <a:spLocks noGrp="1"/>
          </p:cNvSpPr>
          <p:nvPr>
            <p:ph type="title"/>
          </p:nvPr>
        </p:nvSpPr>
        <p:spPr>
          <a:xfrm>
            <a:off x="1876425" y="1166225"/>
            <a:ext cx="5391000" cy="740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7"/>
          <p:cNvSpPr txBox="1">
            <a:spLocks noGrp="1"/>
          </p:cNvSpPr>
          <p:nvPr>
            <p:ph type="body" idx="1"/>
          </p:nvPr>
        </p:nvSpPr>
        <p:spPr>
          <a:xfrm>
            <a:off x="1876425" y="1873675"/>
            <a:ext cx="5391000" cy="21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spcBef>
                <a:spcPts val="0"/>
              </a:spcBef>
              <a:spcAft>
                <a:spcPts val="0"/>
              </a:spcAft>
              <a:buSzPts val="1000"/>
              <a:buFont typeface="Open Sans Medium"/>
              <a:buChar char="●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Font typeface="Open Sans Medium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Font typeface="Open Sans Medium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Font typeface="Open Sans Medium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Font typeface="Open Sans Medium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Font typeface="Open Sans Medium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Font typeface="Open Sans Medium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Font typeface="Open Sans Medium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Font typeface="Open Sans Medium"/>
              <a:buChar char="■"/>
              <a:defRPr/>
            </a:lvl9pPr>
          </a:lstStyle>
          <a:p>
            <a:endParaRPr/>
          </a:p>
        </p:txBody>
      </p:sp>
      <p:sp>
        <p:nvSpPr>
          <p:cNvPr id="65" name="Google Shape;65;p7"/>
          <p:cNvSpPr/>
          <p:nvPr/>
        </p:nvSpPr>
        <p:spPr>
          <a:xfrm>
            <a:off x="8366300" y="1873679"/>
            <a:ext cx="959100" cy="959100"/>
          </a:xfrm>
          <a:prstGeom prst="ellipse">
            <a:avLst/>
          </a:pr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7"/>
          <p:cNvSpPr/>
          <p:nvPr/>
        </p:nvSpPr>
        <p:spPr>
          <a:xfrm>
            <a:off x="446700" y="425079"/>
            <a:ext cx="959100" cy="959100"/>
          </a:xfrm>
          <a:prstGeom prst="ellipse">
            <a:avLst/>
          </a:pr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8"/>
          <p:cNvSpPr/>
          <p:nvPr/>
        </p:nvSpPr>
        <p:spPr>
          <a:xfrm>
            <a:off x="6775813" y="2836600"/>
            <a:ext cx="1592400" cy="15918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" name="Google Shape;69;p8"/>
          <p:cNvSpPr/>
          <p:nvPr/>
        </p:nvSpPr>
        <p:spPr>
          <a:xfrm rot="10800000">
            <a:off x="100" y="-159"/>
            <a:ext cx="9143812" cy="3162333"/>
          </a:xfrm>
          <a:custGeom>
            <a:avLst/>
            <a:gdLst/>
            <a:ahLst/>
            <a:cxnLst/>
            <a:rect l="l" t="t" r="r" b="b"/>
            <a:pathLst>
              <a:path w="160735" h="128524" extrusionOk="0">
                <a:moveTo>
                  <a:pt x="131935" y="1"/>
                </a:moveTo>
                <a:cubicBezTo>
                  <a:pt x="130608" y="1"/>
                  <a:pt x="129280" y="147"/>
                  <a:pt x="127969" y="461"/>
                </a:cubicBezTo>
                <a:cubicBezTo>
                  <a:pt x="120492" y="2235"/>
                  <a:pt x="115170" y="8783"/>
                  <a:pt x="109824" y="14450"/>
                </a:cubicBezTo>
                <a:cubicBezTo>
                  <a:pt x="105031" y="19520"/>
                  <a:pt x="98894" y="24438"/>
                  <a:pt x="92241" y="24438"/>
                </a:cubicBezTo>
                <a:cubicBezTo>
                  <a:pt x="91457" y="24438"/>
                  <a:pt x="90666" y="24370"/>
                  <a:pt x="89869" y="24225"/>
                </a:cubicBezTo>
                <a:cubicBezTo>
                  <a:pt x="82820" y="22951"/>
                  <a:pt x="77772" y="16082"/>
                  <a:pt x="70807" y="14415"/>
                </a:cubicBezTo>
                <a:cubicBezTo>
                  <a:pt x="69666" y="14141"/>
                  <a:pt x="68527" y="14016"/>
                  <a:pt x="67394" y="14016"/>
                </a:cubicBezTo>
                <a:cubicBezTo>
                  <a:pt x="61032" y="14016"/>
                  <a:pt x="54850" y="17965"/>
                  <a:pt x="49423" y="21785"/>
                </a:cubicBezTo>
                <a:cubicBezTo>
                  <a:pt x="43880" y="25697"/>
                  <a:pt x="37639" y="29806"/>
                  <a:pt x="31135" y="29806"/>
                </a:cubicBezTo>
                <a:cubicBezTo>
                  <a:pt x="30137" y="29806"/>
                  <a:pt x="29132" y="29709"/>
                  <a:pt x="28123" y="29500"/>
                </a:cubicBezTo>
                <a:cubicBezTo>
                  <a:pt x="22956" y="28428"/>
                  <a:pt x="18789" y="24583"/>
                  <a:pt x="13978" y="22392"/>
                </a:cubicBezTo>
                <a:cubicBezTo>
                  <a:pt x="12122" y="21544"/>
                  <a:pt x="9961" y="21056"/>
                  <a:pt x="7875" y="21056"/>
                </a:cubicBezTo>
                <a:cubicBezTo>
                  <a:pt x="4545" y="21056"/>
                  <a:pt x="1406" y="22300"/>
                  <a:pt x="1" y="25309"/>
                </a:cubicBezTo>
                <a:lnTo>
                  <a:pt x="1" y="128524"/>
                </a:lnTo>
                <a:lnTo>
                  <a:pt x="160735" y="128524"/>
                </a:lnTo>
                <a:lnTo>
                  <a:pt x="160735" y="21820"/>
                </a:lnTo>
                <a:cubicBezTo>
                  <a:pt x="156865" y="16070"/>
                  <a:pt x="152317" y="10212"/>
                  <a:pt x="146971" y="5878"/>
                </a:cubicBezTo>
                <a:cubicBezTo>
                  <a:pt x="142692" y="2411"/>
                  <a:pt x="137317" y="1"/>
                  <a:pt x="131935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p8"/>
          <p:cNvSpPr/>
          <p:nvPr/>
        </p:nvSpPr>
        <p:spPr>
          <a:xfrm>
            <a:off x="1082725" y="746825"/>
            <a:ext cx="6988200" cy="3642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8"/>
          <p:cNvSpPr txBox="1">
            <a:spLocks noGrp="1"/>
          </p:cNvSpPr>
          <p:nvPr>
            <p:ph type="title"/>
          </p:nvPr>
        </p:nvSpPr>
        <p:spPr>
          <a:xfrm>
            <a:off x="1711200" y="1332600"/>
            <a:ext cx="5721600" cy="2478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80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72" name="Google Shape;72;p8"/>
          <p:cNvSpPr/>
          <p:nvPr/>
        </p:nvSpPr>
        <p:spPr>
          <a:xfrm rot="10800000">
            <a:off x="4813356" y="-34"/>
            <a:ext cx="4330770" cy="1407957"/>
          </a:xfrm>
          <a:custGeom>
            <a:avLst/>
            <a:gdLst/>
            <a:ahLst/>
            <a:cxnLst/>
            <a:rect l="l" t="t" r="r" b="b"/>
            <a:pathLst>
              <a:path w="85155" h="27683" extrusionOk="0">
                <a:moveTo>
                  <a:pt x="24" y="1"/>
                </a:moveTo>
                <a:lnTo>
                  <a:pt x="1" y="27683"/>
                </a:lnTo>
                <a:lnTo>
                  <a:pt x="85154" y="27683"/>
                </a:lnTo>
                <a:cubicBezTo>
                  <a:pt x="81689" y="23277"/>
                  <a:pt x="78153" y="18813"/>
                  <a:pt x="73593" y="15562"/>
                </a:cubicBezTo>
                <a:cubicBezTo>
                  <a:pt x="70012" y="13016"/>
                  <a:pt x="65664" y="11288"/>
                  <a:pt x="61333" y="11288"/>
                </a:cubicBezTo>
                <a:cubicBezTo>
                  <a:pt x="60134" y="11288"/>
                  <a:pt x="58937" y="11421"/>
                  <a:pt x="57758" y="11705"/>
                </a:cubicBezTo>
                <a:cubicBezTo>
                  <a:pt x="54422" y="12512"/>
                  <a:pt x="51323" y="14479"/>
                  <a:pt x="47895" y="14479"/>
                </a:cubicBezTo>
                <a:cubicBezTo>
                  <a:pt x="47884" y="14479"/>
                  <a:pt x="47874" y="14479"/>
                  <a:pt x="47864" y="14479"/>
                </a:cubicBezTo>
                <a:cubicBezTo>
                  <a:pt x="40863" y="14455"/>
                  <a:pt x="36005" y="6418"/>
                  <a:pt x="29028" y="5954"/>
                </a:cubicBezTo>
                <a:cubicBezTo>
                  <a:pt x="28807" y="5939"/>
                  <a:pt x="28588" y="5932"/>
                  <a:pt x="28369" y="5932"/>
                </a:cubicBezTo>
                <a:cubicBezTo>
                  <a:pt x="24082" y="5932"/>
                  <a:pt x="20179" y="8697"/>
                  <a:pt x="15919" y="9490"/>
                </a:cubicBezTo>
                <a:cubicBezTo>
                  <a:pt x="15260" y="9612"/>
                  <a:pt x="14609" y="9670"/>
                  <a:pt x="13967" y="9670"/>
                </a:cubicBezTo>
                <a:cubicBezTo>
                  <a:pt x="8159" y="9670"/>
                  <a:pt x="3155" y="4922"/>
                  <a:pt x="24" y="1"/>
                </a:cubicBezTo>
                <a:close/>
              </a:path>
            </a:pathLst>
          </a:cu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8"/>
          <p:cNvSpPr/>
          <p:nvPr/>
        </p:nvSpPr>
        <p:spPr>
          <a:xfrm rot="10800000" flipH="1">
            <a:off x="5464251" y="-38"/>
            <a:ext cx="3680013" cy="924414"/>
          </a:xfrm>
          <a:custGeom>
            <a:avLst/>
            <a:gdLst/>
            <a:ahLst/>
            <a:cxnLst/>
            <a:rect l="l" t="t" r="r" b="b"/>
            <a:pathLst>
              <a:path w="136613" h="34317" extrusionOk="0">
                <a:moveTo>
                  <a:pt x="130454" y="1"/>
                </a:moveTo>
                <a:cubicBezTo>
                  <a:pt x="123279" y="1"/>
                  <a:pt x="116079" y="2986"/>
                  <a:pt x="111193" y="8278"/>
                </a:cubicBezTo>
                <a:cubicBezTo>
                  <a:pt x="106847" y="12993"/>
                  <a:pt x="103478" y="19803"/>
                  <a:pt x="97132" y="20708"/>
                </a:cubicBezTo>
                <a:cubicBezTo>
                  <a:pt x="96665" y="20775"/>
                  <a:pt x="96201" y="20806"/>
                  <a:pt x="95741" y="20806"/>
                </a:cubicBezTo>
                <a:cubicBezTo>
                  <a:pt x="90211" y="20806"/>
                  <a:pt x="85124" y="16362"/>
                  <a:pt x="79460" y="16362"/>
                </a:cubicBezTo>
                <a:cubicBezTo>
                  <a:pt x="79453" y="16362"/>
                  <a:pt x="79446" y="16362"/>
                  <a:pt x="79439" y="16362"/>
                </a:cubicBezTo>
                <a:cubicBezTo>
                  <a:pt x="69533" y="16386"/>
                  <a:pt x="63520" y="29543"/>
                  <a:pt x="53614" y="29757"/>
                </a:cubicBezTo>
                <a:cubicBezTo>
                  <a:pt x="53538" y="29758"/>
                  <a:pt x="53461" y="29759"/>
                  <a:pt x="53385" y="29759"/>
                </a:cubicBezTo>
                <a:cubicBezTo>
                  <a:pt x="47007" y="29759"/>
                  <a:pt x="42046" y="24386"/>
                  <a:pt x="36446" y="21268"/>
                </a:cubicBezTo>
                <a:cubicBezTo>
                  <a:pt x="32619" y="19136"/>
                  <a:pt x="28233" y="18045"/>
                  <a:pt x="23849" y="18045"/>
                </a:cubicBezTo>
                <a:cubicBezTo>
                  <a:pt x="20936" y="18045"/>
                  <a:pt x="18024" y="18527"/>
                  <a:pt x="15276" y="19506"/>
                </a:cubicBezTo>
                <a:cubicBezTo>
                  <a:pt x="8406" y="21958"/>
                  <a:pt x="2691" y="27471"/>
                  <a:pt x="1" y="34257"/>
                </a:cubicBezTo>
                <a:lnTo>
                  <a:pt x="136613" y="34317"/>
                </a:lnTo>
                <a:lnTo>
                  <a:pt x="136613" y="765"/>
                </a:lnTo>
                <a:cubicBezTo>
                  <a:pt x="134600" y="250"/>
                  <a:pt x="132528" y="1"/>
                  <a:pt x="130454" y="1"/>
                </a:cubicBezTo>
                <a:close/>
              </a:path>
            </a:pathLst>
          </a:cu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8"/>
          <p:cNvSpPr/>
          <p:nvPr/>
        </p:nvSpPr>
        <p:spPr>
          <a:xfrm>
            <a:off x="1" y="4496689"/>
            <a:ext cx="3723552" cy="646820"/>
          </a:xfrm>
          <a:custGeom>
            <a:avLst/>
            <a:gdLst/>
            <a:ahLst/>
            <a:cxnLst/>
            <a:rect l="l" t="t" r="r" b="b"/>
            <a:pathLst>
              <a:path w="111634" h="19392" extrusionOk="0">
                <a:moveTo>
                  <a:pt x="17433" y="1"/>
                </a:moveTo>
                <a:cubicBezTo>
                  <a:pt x="14716" y="1"/>
                  <a:pt x="11947" y="743"/>
                  <a:pt x="9561" y="1913"/>
                </a:cubicBezTo>
                <a:cubicBezTo>
                  <a:pt x="5859" y="3735"/>
                  <a:pt x="2906" y="6473"/>
                  <a:pt x="1" y="9164"/>
                </a:cubicBezTo>
                <a:lnTo>
                  <a:pt x="13" y="19392"/>
                </a:lnTo>
                <a:lnTo>
                  <a:pt x="111634" y="19392"/>
                </a:lnTo>
                <a:cubicBezTo>
                  <a:pt x="109729" y="13701"/>
                  <a:pt x="104597" y="8878"/>
                  <a:pt x="98156" y="6747"/>
                </a:cubicBezTo>
                <a:cubicBezTo>
                  <a:pt x="95615" y="5905"/>
                  <a:pt x="92895" y="5490"/>
                  <a:pt x="90173" y="5490"/>
                </a:cubicBezTo>
                <a:cubicBezTo>
                  <a:pt x="86008" y="5490"/>
                  <a:pt x="81839" y="6461"/>
                  <a:pt x="78296" y="8355"/>
                </a:cubicBezTo>
                <a:cubicBezTo>
                  <a:pt x="74544" y="10355"/>
                  <a:pt x="70871" y="13455"/>
                  <a:pt x="66643" y="13455"/>
                </a:cubicBezTo>
                <a:cubicBezTo>
                  <a:pt x="66215" y="13455"/>
                  <a:pt x="65782" y="13423"/>
                  <a:pt x="65342" y="13355"/>
                </a:cubicBezTo>
                <a:cubicBezTo>
                  <a:pt x="60723" y="12643"/>
                  <a:pt x="57607" y="8057"/>
                  <a:pt x="52925" y="8057"/>
                </a:cubicBezTo>
                <a:cubicBezTo>
                  <a:pt x="52912" y="8057"/>
                  <a:pt x="52900" y="8057"/>
                  <a:pt x="52888" y="8057"/>
                </a:cubicBezTo>
                <a:cubicBezTo>
                  <a:pt x="48662" y="8081"/>
                  <a:pt x="45649" y="11855"/>
                  <a:pt x="41494" y="12522"/>
                </a:cubicBezTo>
                <a:cubicBezTo>
                  <a:pt x="41049" y="12593"/>
                  <a:pt x="40607" y="12627"/>
                  <a:pt x="40168" y="12627"/>
                </a:cubicBezTo>
                <a:cubicBezTo>
                  <a:pt x="36587" y="12627"/>
                  <a:pt x="33279" y="10372"/>
                  <a:pt x="30850" y="7986"/>
                </a:cubicBezTo>
                <a:cubicBezTo>
                  <a:pt x="28123" y="5295"/>
                  <a:pt x="25671" y="2151"/>
                  <a:pt x="21849" y="747"/>
                </a:cubicBezTo>
                <a:cubicBezTo>
                  <a:pt x="20443" y="231"/>
                  <a:pt x="18946" y="1"/>
                  <a:pt x="17433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75;p8"/>
          <p:cNvSpPr/>
          <p:nvPr/>
        </p:nvSpPr>
        <p:spPr>
          <a:xfrm>
            <a:off x="50" y="4007650"/>
            <a:ext cx="3723459" cy="1135838"/>
          </a:xfrm>
          <a:custGeom>
            <a:avLst/>
            <a:gdLst/>
            <a:ahLst/>
            <a:cxnLst/>
            <a:rect l="l" t="t" r="r" b="b"/>
            <a:pathLst>
              <a:path w="237352" h="72404" extrusionOk="0">
                <a:moveTo>
                  <a:pt x="25265" y="1"/>
                </a:moveTo>
                <a:cubicBezTo>
                  <a:pt x="24946" y="1"/>
                  <a:pt x="24624" y="9"/>
                  <a:pt x="24301" y="25"/>
                </a:cubicBezTo>
                <a:cubicBezTo>
                  <a:pt x="14014" y="549"/>
                  <a:pt x="6358" y="9348"/>
                  <a:pt x="0" y="17432"/>
                </a:cubicBezTo>
                <a:lnTo>
                  <a:pt x="24" y="72403"/>
                </a:lnTo>
                <a:lnTo>
                  <a:pt x="237351" y="72403"/>
                </a:lnTo>
                <a:cubicBezTo>
                  <a:pt x="234172" y="66569"/>
                  <a:pt x="230922" y="60628"/>
                  <a:pt x="226136" y="56020"/>
                </a:cubicBezTo>
                <a:cubicBezTo>
                  <a:pt x="221955" y="51996"/>
                  <a:pt x="216340" y="49080"/>
                  <a:pt x="210615" y="49080"/>
                </a:cubicBezTo>
                <a:cubicBezTo>
                  <a:pt x="209785" y="49080"/>
                  <a:pt x="208952" y="49141"/>
                  <a:pt x="208121" y="49269"/>
                </a:cubicBezTo>
                <a:cubicBezTo>
                  <a:pt x="200930" y="50389"/>
                  <a:pt x="195084" y="56187"/>
                  <a:pt x="187857" y="57104"/>
                </a:cubicBezTo>
                <a:cubicBezTo>
                  <a:pt x="187177" y="57191"/>
                  <a:pt x="186499" y="57233"/>
                  <a:pt x="185824" y="57233"/>
                </a:cubicBezTo>
                <a:cubicBezTo>
                  <a:pt x="179715" y="57233"/>
                  <a:pt x="173869" y="53788"/>
                  <a:pt x="169355" y="49531"/>
                </a:cubicBezTo>
                <a:cubicBezTo>
                  <a:pt x="164330" y="44805"/>
                  <a:pt x="160413" y="39006"/>
                  <a:pt x="155424" y="34256"/>
                </a:cubicBezTo>
                <a:cubicBezTo>
                  <a:pt x="146597" y="25874"/>
                  <a:pt x="134399" y="21415"/>
                  <a:pt x="122252" y="21415"/>
                </a:cubicBezTo>
                <a:cubicBezTo>
                  <a:pt x="115246" y="21415"/>
                  <a:pt x="108257" y="22898"/>
                  <a:pt x="101941" y="25969"/>
                </a:cubicBezTo>
                <a:cubicBezTo>
                  <a:pt x="94274" y="29696"/>
                  <a:pt x="87154" y="35613"/>
                  <a:pt x="78629" y="35827"/>
                </a:cubicBezTo>
                <a:cubicBezTo>
                  <a:pt x="78465" y="35831"/>
                  <a:pt x="78302" y="35833"/>
                  <a:pt x="78140" y="35833"/>
                </a:cubicBezTo>
                <a:cubicBezTo>
                  <a:pt x="67113" y="35833"/>
                  <a:pt x="58547" y="26354"/>
                  <a:pt x="51554" y="17730"/>
                </a:cubicBezTo>
                <a:cubicBezTo>
                  <a:pt x="44662" y="9230"/>
                  <a:pt x="36063" y="1"/>
                  <a:pt x="25265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" name="Google Shape;76;p8"/>
          <p:cNvSpPr/>
          <p:nvPr/>
        </p:nvSpPr>
        <p:spPr>
          <a:xfrm>
            <a:off x="918000" y="2972851"/>
            <a:ext cx="1075500" cy="1074900"/>
          </a:xfrm>
          <a:prstGeom prst="ellipse">
            <a:avLst/>
          </a:pr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7" name="Google Shape;77;p8"/>
          <p:cNvGrpSpPr/>
          <p:nvPr/>
        </p:nvGrpSpPr>
        <p:grpSpPr>
          <a:xfrm>
            <a:off x="8283400" y="4604088"/>
            <a:ext cx="427725" cy="162000"/>
            <a:chOff x="979125" y="1666875"/>
            <a:chExt cx="427725" cy="162000"/>
          </a:xfrm>
        </p:grpSpPr>
        <p:sp>
          <p:nvSpPr>
            <p:cNvPr id="78" name="Google Shape;78;p8"/>
            <p:cNvSpPr/>
            <p:nvPr/>
          </p:nvSpPr>
          <p:spPr>
            <a:xfrm>
              <a:off x="979125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79;p8"/>
            <p:cNvSpPr/>
            <p:nvPr/>
          </p:nvSpPr>
          <p:spPr>
            <a:xfrm>
              <a:off x="1244850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0" name="Google Shape;80;p8"/>
          <p:cNvGrpSpPr/>
          <p:nvPr/>
        </p:nvGrpSpPr>
        <p:grpSpPr>
          <a:xfrm>
            <a:off x="713275" y="539363"/>
            <a:ext cx="959175" cy="162000"/>
            <a:chOff x="447675" y="1666875"/>
            <a:chExt cx="959175" cy="162000"/>
          </a:xfrm>
        </p:grpSpPr>
        <p:sp>
          <p:nvSpPr>
            <p:cNvPr id="81" name="Google Shape;81;p8"/>
            <p:cNvSpPr/>
            <p:nvPr/>
          </p:nvSpPr>
          <p:spPr>
            <a:xfrm>
              <a:off x="447675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82;p8"/>
            <p:cNvSpPr/>
            <p:nvPr/>
          </p:nvSpPr>
          <p:spPr>
            <a:xfrm>
              <a:off x="713400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979125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84;p8"/>
            <p:cNvSpPr/>
            <p:nvPr/>
          </p:nvSpPr>
          <p:spPr>
            <a:xfrm>
              <a:off x="1244850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9"/>
          <p:cNvSpPr txBox="1">
            <a:spLocks noGrp="1"/>
          </p:cNvSpPr>
          <p:nvPr>
            <p:ph type="title"/>
          </p:nvPr>
        </p:nvSpPr>
        <p:spPr>
          <a:xfrm>
            <a:off x="713400" y="966850"/>
            <a:ext cx="3696300" cy="831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87" name="Google Shape;87;p9"/>
          <p:cNvSpPr txBox="1">
            <a:spLocks noGrp="1"/>
          </p:cNvSpPr>
          <p:nvPr>
            <p:ph type="subTitle" idx="1"/>
          </p:nvPr>
        </p:nvSpPr>
        <p:spPr>
          <a:xfrm>
            <a:off x="713400" y="1798150"/>
            <a:ext cx="3696300" cy="1847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88" name="Google Shape;88;p9"/>
          <p:cNvSpPr/>
          <p:nvPr/>
        </p:nvSpPr>
        <p:spPr>
          <a:xfrm>
            <a:off x="3898199" y="-808225"/>
            <a:ext cx="1347600" cy="1347600"/>
          </a:xfrm>
          <a:prstGeom prst="ellipse">
            <a:avLst/>
          </a:pr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89;p9"/>
          <p:cNvSpPr/>
          <p:nvPr/>
        </p:nvSpPr>
        <p:spPr>
          <a:xfrm>
            <a:off x="646975" y="4345325"/>
            <a:ext cx="2344611" cy="798187"/>
          </a:xfrm>
          <a:custGeom>
            <a:avLst/>
            <a:gdLst/>
            <a:ahLst/>
            <a:cxnLst/>
            <a:rect l="l" t="t" r="r" b="b"/>
            <a:pathLst>
              <a:path w="29571" h="10067" extrusionOk="0">
                <a:moveTo>
                  <a:pt x="10181" y="0"/>
                </a:moveTo>
                <a:cubicBezTo>
                  <a:pt x="5410" y="0"/>
                  <a:pt x="2293" y="2806"/>
                  <a:pt x="0" y="10066"/>
                </a:cubicBezTo>
                <a:lnTo>
                  <a:pt x="29570" y="10066"/>
                </a:lnTo>
                <a:cubicBezTo>
                  <a:pt x="16901" y="4324"/>
                  <a:pt x="15443" y="0"/>
                  <a:pt x="10181" y="0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9"/>
          <p:cNvSpPr/>
          <p:nvPr/>
        </p:nvSpPr>
        <p:spPr>
          <a:xfrm>
            <a:off x="-475575" y="3851150"/>
            <a:ext cx="851100" cy="851100"/>
          </a:xfrm>
          <a:prstGeom prst="ellipse">
            <a:avLst/>
          </a:pr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" name="Google Shape;91;p9"/>
          <p:cNvSpPr/>
          <p:nvPr/>
        </p:nvSpPr>
        <p:spPr>
          <a:xfrm rot="-5400000">
            <a:off x="4942913" y="937427"/>
            <a:ext cx="5135483" cy="3266759"/>
          </a:xfrm>
          <a:custGeom>
            <a:avLst/>
            <a:gdLst/>
            <a:ahLst/>
            <a:cxnLst/>
            <a:rect l="l" t="t" r="r" b="b"/>
            <a:pathLst>
              <a:path w="160735" h="128524" extrusionOk="0">
                <a:moveTo>
                  <a:pt x="131935" y="1"/>
                </a:moveTo>
                <a:cubicBezTo>
                  <a:pt x="130608" y="1"/>
                  <a:pt x="129280" y="147"/>
                  <a:pt x="127969" y="461"/>
                </a:cubicBezTo>
                <a:cubicBezTo>
                  <a:pt x="120492" y="2235"/>
                  <a:pt x="115170" y="8783"/>
                  <a:pt x="109824" y="14450"/>
                </a:cubicBezTo>
                <a:cubicBezTo>
                  <a:pt x="105031" y="19520"/>
                  <a:pt x="98894" y="24438"/>
                  <a:pt x="92241" y="24438"/>
                </a:cubicBezTo>
                <a:cubicBezTo>
                  <a:pt x="91457" y="24438"/>
                  <a:pt x="90666" y="24370"/>
                  <a:pt x="89869" y="24225"/>
                </a:cubicBezTo>
                <a:cubicBezTo>
                  <a:pt x="82820" y="22951"/>
                  <a:pt x="77772" y="16082"/>
                  <a:pt x="70807" y="14415"/>
                </a:cubicBezTo>
                <a:cubicBezTo>
                  <a:pt x="69666" y="14141"/>
                  <a:pt x="68527" y="14016"/>
                  <a:pt x="67394" y="14016"/>
                </a:cubicBezTo>
                <a:cubicBezTo>
                  <a:pt x="61032" y="14016"/>
                  <a:pt x="54850" y="17965"/>
                  <a:pt x="49423" y="21785"/>
                </a:cubicBezTo>
                <a:cubicBezTo>
                  <a:pt x="43880" y="25697"/>
                  <a:pt x="37639" y="29806"/>
                  <a:pt x="31135" y="29806"/>
                </a:cubicBezTo>
                <a:cubicBezTo>
                  <a:pt x="30137" y="29806"/>
                  <a:pt x="29132" y="29709"/>
                  <a:pt x="28123" y="29500"/>
                </a:cubicBezTo>
                <a:cubicBezTo>
                  <a:pt x="22956" y="28428"/>
                  <a:pt x="18789" y="24583"/>
                  <a:pt x="13978" y="22392"/>
                </a:cubicBezTo>
                <a:cubicBezTo>
                  <a:pt x="12122" y="21544"/>
                  <a:pt x="9961" y="21056"/>
                  <a:pt x="7875" y="21056"/>
                </a:cubicBezTo>
                <a:cubicBezTo>
                  <a:pt x="4545" y="21056"/>
                  <a:pt x="1406" y="22300"/>
                  <a:pt x="1" y="25309"/>
                </a:cubicBezTo>
                <a:lnTo>
                  <a:pt x="1" y="128524"/>
                </a:lnTo>
                <a:lnTo>
                  <a:pt x="160735" y="128524"/>
                </a:lnTo>
                <a:lnTo>
                  <a:pt x="160735" y="21820"/>
                </a:lnTo>
                <a:cubicBezTo>
                  <a:pt x="156865" y="16070"/>
                  <a:pt x="152317" y="10212"/>
                  <a:pt x="146971" y="5878"/>
                </a:cubicBezTo>
                <a:cubicBezTo>
                  <a:pt x="142692" y="2411"/>
                  <a:pt x="137317" y="1"/>
                  <a:pt x="131935" y="1"/>
                </a:cubicBezTo>
                <a:close/>
              </a:path>
            </a:pathLst>
          </a:cu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9"/>
          <p:cNvSpPr/>
          <p:nvPr/>
        </p:nvSpPr>
        <p:spPr>
          <a:xfrm rot="-5400000">
            <a:off x="5769435" y="1749872"/>
            <a:ext cx="5124461" cy="1624712"/>
          </a:xfrm>
          <a:custGeom>
            <a:avLst/>
            <a:gdLst/>
            <a:ahLst/>
            <a:cxnLst/>
            <a:rect l="l" t="t" r="r" b="b"/>
            <a:pathLst>
              <a:path w="160390" h="63921" extrusionOk="0">
                <a:moveTo>
                  <a:pt x="25594" y="1"/>
                </a:moveTo>
                <a:cubicBezTo>
                  <a:pt x="24854" y="1"/>
                  <a:pt x="24109" y="50"/>
                  <a:pt x="23360" y="151"/>
                </a:cubicBezTo>
                <a:cubicBezTo>
                  <a:pt x="17014" y="1020"/>
                  <a:pt x="11549" y="5616"/>
                  <a:pt x="7882" y="11176"/>
                </a:cubicBezTo>
                <a:cubicBezTo>
                  <a:pt x="4215" y="16737"/>
                  <a:pt x="2084" y="23249"/>
                  <a:pt x="0" y="29679"/>
                </a:cubicBezTo>
                <a:lnTo>
                  <a:pt x="24" y="63921"/>
                </a:lnTo>
                <a:lnTo>
                  <a:pt x="160294" y="63921"/>
                </a:lnTo>
                <a:lnTo>
                  <a:pt x="160294" y="59647"/>
                </a:lnTo>
                <a:cubicBezTo>
                  <a:pt x="160389" y="56503"/>
                  <a:pt x="158079" y="53789"/>
                  <a:pt x="155460" y="52301"/>
                </a:cubicBezTo>
                <a:cubicBezTo>
                  <a:pt x="152852" y="50812"/>
                  <a:pt x="149888" y="50193"/>
                  <a:pt x="147149" y="48979"/>
                </a:cubicBezTo>
                <a:cubicBezTo>
                  <a:pt x="139410" y="45550"/>
                  <a:pt x="134303" y="37834"/>
                  <a:pt x="128504" y="31405"/>
                </a:cubicBezTo>
                <a:cubicBezTo>
                  <a:pt x="123628" y="25989"/>
                  <a:pt x="117052" y="21086"/>
                  <a:pt x="110283" y="21086"/>
                </a:cubicBezTo>
                <a:cubicBezTo>
                  <a:pt x="109002" y="21086"/>
                  <a:pt x="107714" y="21261"/>
                  <a:pt x="106430" y="21642"/>
                </a:cubicBezTo>
                <a:cubicBezTo>
                  <a:pt x="98441" y="23999"/>
                  <a:pt x="93952" y="33322"/>
                  <a:pt x="86368" y="36906"/>
                </a:cubicBezTo>
                <a:cubicBezTo>
                  <a:pt x="84111" y="37971"/>
                  <a:pt x="81720" y="38448"/>
                  <a:pt x="79303" y="38448"/>
                </a:cubicBezTo>
                <a:cubicBezTo>
                  <a:pt x="73482" y="38448"/>
                  <a:pt x="67511" y="35682"/>
                  <a:pt x="62901" y="31703"/>
                </a:cubicBezTo>
                <a:cubicBezTo>
                  <a:pt x="56245" y="25952"/>
                  <a:pt x="51637" y="17999"/>
                  <a:pt x="45780" y="11331"/>
                </a:cubicBezTo>
                <a:cubicBezTo>
                  <a:pt x="40448" y="5250"/>
                  <a:pt x="33274" y="1"/>
                  <a:pt x="25594" y="1"/>
                </a:cubicBezTo>
                <a:close/>
              </a:path>
            </a:pathLst>
          </a:cu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3" name="Google Shape;93;p9"/>
          <p:cNvSpPr/>
          <p:nvPr/>
        </p:nvSpPr>
        <p:spPr>
          <a:xfrm rot="-5400000">
            <a:off x="5516274" y="1515749"/>
            <a:ext cx="5140436" cy="2115066"/>
          </a:xfrm>
          <a:custGeom>
            <a:avLst/>
            <a:gdLst/>
            <a:ahLst/>
            <a:cxnLst/>
            <a:rect l="l" t="t" r="r" b="b"/>
            <a:pathLst>
              <a:path w="160890" h="83213" extrusionOk="0">
                <a:moveTo>
                  <a:pt x="86296" y="0"/>
                </a:moveTo>
                <a:cubicBezTo>
                  <a:pt x="78520" y="0"/>
                  <a:pt x="70747" y="4949"/>
                  <a:pt x="65056" y="11061"/>
                </a:cubicBezTo>
                <a:cubicBezTo>
                  <a:pt x="57984" y="18669"/>
                  <a:pt x="52769" y="28159"/>
                  <a:pt x="45233" y="35219"/>
                </a:cubicBezTo>
                <a:cubicBezTo>
                  <a:pt x="41283" y="38911"/>
                  <a:pt x="36209" y="41946"/>
                  <a:pt x="31144" y="41946"/>
                </a:cubicBezTo>
                <a:cubicBezTo>
                  <a:pt x="29889" y="41946"/>
                  <a:pt x="28634" y="41760"/>
                  <a:pt x="27397" y="41351"/>
                </a:cubicBezTo>
                <a:cubicBezTo>
                  <a:pt x="20170" y="38958"/>
                  <a:pt x="16717" y="30349"/>
                  <a:pt x="14002" y="22741"/>
                </a:cubicBezTo>
                <a:cubicBezTo>
                  <a:pt x="11300" y="15145"/>
                  <a:pt x="7383" y="6596"/>
                  <a:pt x="1" y="4882"/>
                </a:cubicBezTo>
                <a:lnTo>
                  <a:pt x="1" y="83213"/>
                </a:lnTo>
                <a:lnTo>
                  <a:pt x="160854" y="83213"/>
                </a:lnTo>
                <a:lnTo>
                  <a:pt x="160890" y="7037"/>
                </a:lnTo>
                <a:lnTo>
                  <a:pt x="160890" y="7037"/>
                </a:lnTo>
                <a:cubicBezTo>
                  <a:pt x="155306" y="13038"/>
                  <a:pt x="149615" y="19122"/>
                  <a:pt x="142650" y="23098"/>
                </a:cubicBezTo>
                <a:cubicBezTo>
                  <a:pt x="138302" y="25573"/>
                  <a:pt x="133332" y="27125"/>
                  <a:pt x="128450" y="27125"/>
                </a:cubicBezTo>
                <a:cubicBezTo>
                  <a:pt x="125512" y="27125"/>
                  <a:pt x="122605" y="26563"/>
                  <a:pt x="119885" y="25301"/>
                </a:cubicBezTo>
                <a:cubicBezTo>
                  <a:pt x="108764" y="20122"/>
                  <a:pt x="103478" y="4894"/>
                  <a:pt x="91929" y="929"/>
                </a:cubicBezTo>
                <a:cubicBezTo>
                  <a:pt x="90071" y="292"/>
                  <a:pt x="88183" y="0"/>
                  <a:pt x="86296" y="0"/>
                </a:cubicBezTo>
                <a:close/>
              </a:path>
            </a:pathLst>
          </a:cu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0"/>
          <p:cNvSpPr txBox="1">
            <a:spLocks noGrp="1"/>
          </p:cNvSpPr>
          <p:nvPr>
            <p:ph type="title"/>
          </p:nvPr>
        </p:nvSpPr>
        <p:spPr>
          <a:xfrm>
            <a:off x="1273000" y="3527125"/>
            <a:ext cx="3047700" cy="954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2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grpSp>
        <p:nvGrpSpPr>
          <p:cNvPr id="96" name="Google Shape;96;p10"/>
          <p:cNvGrpSpPr/>
          <p:nvPr/>
        </p:nvGrpSpPr>
        <p:grpSpPr>
          <a:xfrm>
            <a:off x="5672394" y="-45"/>
            <a:ext cx="3471909" cy="1128722"/>
            <a:chOff x="5672394" y="-45"/>
            <a:chExt cx="3471909" cy="1128722"/>
          </a:xfrm>
        </p:grpSpPr>
        <p:sp>
          <p:nvSpPr>
            <p:cNvPr id="97" name="Google Shape;97;p10"/>
            <p:cNvSpPr/>
            <p:nvPr/>
          </p:nvSpPr>
          <p:spPr>
            <a:xfrm rot="10800000">
              <a:off x="5672394" y="-28"/>
              <a:ext cx="3471769" cy="1128705"/>
            </a:xfrm>
            <a:custGeom>
              <a:avLst/>
              <a:gdLst/>
              <a:ahLst/>
              <a:cxnLst/>
              <a:rect l="l" t="t" r="r" b="b"/>
              <a:pathLst>
                <a:path w="85155" h="27683" extrusionOk="0">
                  <a:moveTo>
                    <a:pt x="24" y="1"/>
                  </a:moveTo>
                  <a:lnTo>
                    <a:pt x="1" y="27683"/>
                  </a:lnTo>
                  <a:lnTo>
                    <a:pt x="85154" y="27683"/>
                  </a:lnTo>
                  <a:cubicBezTo>
                    <a:pt x="81689" y="23277"/>
                    <a:pt x="78153" y="18813"/>
                    <a:pt x="73593" y="15562"/>
                  </a:cubicBezTo>
                  <a:cubicBezTo>
                    <a:pt x="70012" y="13016"/>
                    <a:pt x="65664" y="11288"/>
                    <a:pt x="61333" y="11288"/>
                  </a:cubicBezTo>
                  <a:cubicBezTo>
                    <a:pt x="60134" y="11288"/>
                    <a:pt x="58937" y="11421"/>
                    <a:pt x="57758" y="11705"/>
                  </a:cubicBezTo>
                  <a:cubicBezTo>
                    <a:pt x="54422" y="12512"/>
                    <a:pt x="51323" y="14479"/>
                    <a:pt x="47895" y="14479"/>
                  </a:cubicBezTo>
                  <a:cubicBezTo>
                    <a:pt x="47884" y="14479"/>
                    <a:pt x="47874" y="14479"/>
                    <a:pt x="47864" y="14479"/>
                  </a:cubicBezTo>
                  <a:cubicBezTo>
                    <a:pt x="40863" y="14455"/>
                    <a:pt x="36005" y="6418"/>
                    <a:pt x="29028" y="5954"/>
                  </a:cubicBezTo>
                  <a:cubicBezTo>
                    <a:pt x="28807" y="5939"/>
                    <a:pt x="28588" y="5932"/>
                    <a:pt x="28369" y="5932"/>
                  </a:cubicBezTo>
                  <a:cubicBezTo>
                    <a:pt x="24082" y="5932"/>
                    <a:pt x="20179" y="8697"/>
                    <a:pt x="15919" y="9490"/>
                  </a:cubicBezTo>
                  <a:cubicBezTo>
                    <a:pt x="15260" y="9612"/>
                    <a:pt x="14609" y="9670"/>
                    <a:pt x="13967" y="9670"/>
                  </a:cubicBezTo>
                  <a:cubicBezTo>
                    <a:pt x="8159" y="9670"/>
                    <a:pt x="3155" y="4922"/>
                    <a:pt x="24" y="1"/>
                  </a:cubicBezTo>
                  <a:close/>
                </a:path>
              </a:pathLst>
            </a:custGeom>
            <a:solidFill>
              <a:srgbClr val="FF4D01">
                <a:alpha val="506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98;p10"/>
            <p:cNvSpPr/>
            <p:nvPr/>
          </p:nvSpPr>
          <p:spPr>
            <a:xfrm rot="10800000" flipH="1">
              <a:off x="6194145" y="-45"/>
              <a:ext cx="2950158" cy="741076"/>
            </a:xfrm>
            <a:custGeom>
              <a:avLst/>
              <a:gdLst/>
              <a:ahLst/>
              <a:cxnLst/>
              <a:rect l="l" t="t" r="r" b="b"/>
              <a:pathLst>
                <a:path w="136613" h="34317" extrusionOk="0">
                  <a:moveTo>
                    <a:pt x="130454" y="1"/>
                  </a:moveTo>
                  <a:cubicBezTo>
                    <a:pt x="123279" y="1"/>
                    <a:pt x="116079" y="2986"/>
                    <a:pt x="111193" y="8278"/>
                  </a:cubicBezTo>
                  <a:cubicBezTo>
                    <a:pt x="106847" y="12993"/>
                    <a:pt x="103478" y="19803"/>
                    <a:pt x="97132" y="20708"/>
                  </a:cubicBezTo>
                  <a:cubicBezTo>
                    <a:pt x="96665" y="20775"/>
                    <a:pt x="96201" y="20806"/>
                    <a:pt x="95741" y="20806"/>
                  </a:cubicBezTo>
                  <a:cubicBezTo>
                    <a:pt x="90211" y="20806"/>
                    <a:pt x="85124" y="16362"/>
                    <a:pt x="79460" y="16362"/>
                  </a:cubicBezTo>
                  <a:cubicBezTo>
                    <a:pt x="79453" y="16362"/>
                    <a:pt x="79446" y="16362"/>
                    <a:pt x="79439" y="16362"/>
                  </a:cubicBezTo>
                  <a:cubicBezTo>
                    <a:pt x="69533" y="16386"/>
                    <a:pt x="63520" y="29543"/>
                    <a:pt x="53614" y="29757"/>
                  </a:cubicBezTo>
                  <a:cubicBezTo>
                    <a:pt x="53538" y="29758"/>
                    <a:pt x="53461" y="29759"/>
                    <a:pt x="53385" y="29759"/>
                  </a:cubicBezTo>
                  <a:cubicBezTo>
                    <a:pt x="47007" y="29759"/>
                    <a:pt x="42046" y="24386"/>
                    <a:pt x="36446" y="21268"/>
                  </a:cubicBezTo>
                  <a:cubicBezTo>
                    <a:pt x="32619" y="19136"/>
                    <a:pt x="28233" y="18045"/>
                    <a:pt x="23849" y="18045"/>
                  </a:cubicBezTo>
                  <a:cubicBezTo>
                    <a:pt x="20936" y="18045"/>
                    <a:pt x="18024" y="18527"/>
                    <a:pt x="15276" y="19506"/>
                  </a:cubicBezTo>
                  <a:cubicBezTo>
                    <a:pt x="8406" y="21958"/>
                    <a:pt x="2691" y="27471"/>
                    <a:pt x="1" y="34257"/>
                  </a:cubicBezTo>
                  <a:lnTo>
                    <a:pt x="136613" y="34317"/>
                  </a:lnTo>
                  <a:lnTo>
                    <a:pt x="136613" y="765"/>
                  </a:lnTo>
                  <a:cubicBezTo>
                    <a:pt x="134600" y="250"/>
                    <a:pt x="132528" y="1"/>
                    <a:pt x="130454" y="1"/>
                  </a:cubicBezTo>
                  <a:close/>
                </a:path>
              </a:pathLst>
            </a:custGeom>
            <a:solidFill>
              <a:srgbClr val="FF4D01">
                <a:alpha val="506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1"/>
          <p:cNvSpPr/>
          <p:nvPr/>
        </p:nvSpPr>
        <p:spPr>
          <a:xfrm rot="10800000" flipH="1">
            <a:off x="1367408" y="19"/>
            <a:ext cx="7776695" cy="2585185"/>
          </a:xfrm>
          <a:custGeom>
            <a:avLst/>
            <a:gdLst/>
            <a:ahLst/>
            <a:cxnLst/>
            <a:rect l="l" t="t" r="r" b="b"/>
            <a:pathLst>
              <a:path w="136613" h="34317" extrusionOk="0">
                <a:moveTo>
                  <a:pt x="130454" y="1"/>
                </a:moveTo>
                <a:cubicBezTo>
                  <a:pt x="123279" y="1"/>
                  <a:pt x="116079" y="2986"/>
                  <a:pt x="111193" y="8278"/>
                </a:cubicBezTo>
                <a:cubicBezTo>
                  <a:pt x="106847" y="12993"/>
                  <a:pt x="103478" y="19803"/>
                  <a:pt x="97132" y="20708"/>
                </a:cubicBezTo>
                <a:cubicBezTo>
                  <a:pt x="96665" y="20775"/>
                  <a:pt x="96201" y="20806"/>
                  <a:pt x="95741" y="20806"/>
                </a:cubicBezTo>
                <a:cubicBezTo>
                  <a:pt x="90211" y="20806"/>
                  <a:pt x="85124" y="16362"/>
                  <a:pt x="79460" y="16362"/>
                </a:cubicBezTo>
                <a:cubicBezTo>
                  <a:pt x="79453" y="16362"/>
                  <a:pt x="79446" y="16362"/>
                  <a:pt x="79439" y="16362"/>
                </a:cubicBezTo>
                <a:cubicBezTo>
                  <a:pt x="69533" y="16386"/>
                  <a:pt x="63520" y="29543"/>
                  <a:pt x="53614" y="29757"/>
                </a:cubicBezTo>
                <a:cubicBezTo>
                  <a:pt x="53538" y="29758"/>
                  <a:pt x="53461" y="29759"/>
                  <a:pt x="53385" y="29759"/>
                </a:cubicBezTo>
                <a:cubicBezTo>
                  <a:pt x="47007" y="29759"/>
                  <a:pt x="42046" y="24386"/>
                  <a:pt x="36446" y="21268"/>
                </a:cubicBezTo>
                <a:cubicBezTo>
                  <a:pt x="32619" y="19136"/>
                  <a:pt x="28233" y="18045"/>
                  <a:pt x="23849" y="18045"/>
                </a:cubicBezTo>
                <a:cubicBezTo>
                  <a:pt x="20936" y="18045"/>
                  <a:pt x="18024" y="18527"/>
                  <a:pt x="15276" y="19506"/>
                </a:cubicBezTo>
                <a:cubicBezTo>
                  <a:pt x="8406" y="21958"/>
                  <a:pt x="2691" y="27471"/>
                  <a:pt x="1" y="34257"/>
                </a:cubicBezTo>
                <a:lnTo>
                  <a:pt x="136613" y="34317"/>
                </a:lnTo>
                <a:lnTo>
                  <a:pt x="136613" y="765"/>
                </a:lnTo>
                <a:cubicBezTo>
                  <a:pt x="134600" y="250"/>
                  <a:pt x="132528" y="1"/>
                  <a:pt x="130454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11"/>
          <p:cNvSpPr/>
          <p:nvPr/>
        </p:nvSpPr>
        <p:spPr>
          <a:xfrm rot="10800000" flipH="1">
            <a:off x="-6" y="19"/>
            <a:ext cx="9144064" cy="2383642"/>
          </a:xfrm>
          <a:custGeom>
            <a:avLst/>
            <a:gdLst/>
            <a:ahLst/>
            <a:cxnLst/>
            <a:rect l="l" t="t" r="r" b="b"/>
            <a:pathLst>
              <a:path w="142876" h="28143" extrusionOk="0">
                <a:moveTo>
                  <a:pt x="6574" y="1"/>
                </a:moveTo>
                <a:cubicBezTo>
                  <a:pt x="4253" y="1"/>
                  <a:pt x="1915" y="766"/>
                  <a:pt x="1" y="2068"/>
                </a:cubicBezTo>
                <a:lnTo>
                  <a:pt x="1" y="28142"/>
                </a:lnTo>
                <a:lnTo>
                  <a:pt x="142876" y="28142"/>
                </a:lnTo>
                <a:lnTo>
                  <a:pt x="142876" y="10652"/>
                </a:lnTo>
                <a:cubicBezTo>
                  <a:pt x="136786" y="13712"/>
                  <a:pt x="129891" y="15285"/>
                  <a:pt x="122999" y="15285"/>
                </a:cubicBezTo>
                <a:cubicBezTo>
                  <a:pt x="119192" y="15285"/>
                  <a:pt x="115386" y="14805"/>
                  <a:pt x="111717" y="13831"/>
                </a:cubicBezTo>
                <a:cubicBezTo>
                  <a:pt x="107800" y="12795"/>
                  <a:pt x="103990" y="11212"/>
                  <a:pt x="99918" y="10973"/>
                </a:cubicBezTo>
                <a:cubicBezTo>
                  <a:pt x="99531" y="10950"/>
                  <a:pt x="99145" y="10940"/>
                  <a:pt x="98759" y="10940"/>
                </a:cubicBezTo>
                <a:cubicBezTo>
                  <a:pt x="94033" y="10940"/>
                  <a:pt x="89359" y="12544"/>
                  <a:pt x="84643" y="12544"/>
                </a:cubicBezTo>
                <a:cubicBezTo>
                  <a:pt x="84194" y="12544"/>
                  <a:pt x="83746" y="12529"/>
                  <a:pt x="83297" y="12497"/>
                </a:cubicBezTo>
                <a:cubicBezTo>
                  <a:pt x="77403" y="12069"/>
                  <a:pt x="72248" y="8771"/>
                  <a:pt x="67211" y="5854"/>
                </a:cubicBezTo>
                <a:cubicBezTo>
                  <a:pt x="62811" y="3311"/>
                  <a:pt x="57903" y="904"/>
                  <a:pt x="52852" y="904"/>
                </a:cubicBezTo>
                <a:cubicBezTo>
                  <a:pt x="52109" y="904"/>
                  <a:pt x="51362" y="956"/>
                  <a:pt x="50614" y="1067"/>
                </a:cubicBezTo>
                <a:cubicBezTo>
                  <a:pt x="45721" y="1794"/>
                  <a:pt x="41684" y="4913"/>
                  <a:pt x="37529" y="7449"/>
                </a:cubicBezTo>
                <a:cubicBezTo>
                  <a:pt x="34352" y="9397"/>
                  <a:pt x="30619" y="11094"/>
                  <a:pt x="26946" y="11094"/>
                </a:cubicBezTo>
                <a:cubicBezTo>
                  <a:pt x="25815" y="11094"/>
                  <a:pt x="24689" y="10933"/>
                  <a:pt x="23587" y="10569"/>
                </a:cubicBezTo>
                <a:cubicBezTo>
                  <a:pt x="18253" y="8807"/>
                  <a:pt x="15503" y="2937"/>
                  <a:pt x="10347" y="746"/>
                </a:cubicBezTo>
                <a:cubicBezTo>
                  <a:pt x="9145" y="236"/>
                  <a:pt x="7862" y="1"/>
                  <a:pt x="6574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" name="Google Shape;102;p11"/>
          <p:cNvSpPr/>
          <p:nvPr/>
        </p:nvSpPr>
        <p:spPr>
          <a:xfrm rot="10800000">
            <a:off x="-161" y="19"/>
            <a:ext cx="6670662" cy="2114556"/>
          </a:xfrm>
          <a:custGeom>
            <a:avLst/>
            <a:gdLst/>
            <a:ahLst/>
            <a:cxnLst/>
            <a:rect l="l" t="t" r="r" b="b"/>
            <a:pathLst>
              <a:path w="127327" h="41769" extrusionOk="0">
                <a:moveTo>
                  <a:pt x="33782" y="1"/>
                </a:moveTo>
                <a:cubicBezTo>
                  <a:pt x="29984" y="1"/>
                  <a:pt x="26138" y="938"/>
                  <a:pt x="22754" y="2656"/>
                </a:cubicBezTo>
                <a:cubicBezTo>
                  <a:pt x="15812" y="6192"/>
                  <a:pt x="10669" y="12586"/>
                  <a:pt x="7228" y="19575"/>
                </a:cubicBezTo>
                <a:cubicBezTo>
                  <a:pt x="3775" y="26564"/>
                  <a:pt x="1882" y="34184"/>
                  <a:pt x="1" y="41744"/>
                </a:cubicBezTo>
                <a:lnTo>
                  <a:pt x="127326" y="41768"/>
                </a:lnTo>
                <a:lnTo>
                  <a:pt x="127326" y="26766"/>
                </a:lnTo>
                <a:cubicBezTo>
                  <a:pt x="125115" y="27301"/>
                  <a:pt x="122843" y="27563"/>
                  <a:pt x="120569" y="27563"/>
                </a:cubicBezTo>
                <a:cubicBezTo>
                  <a:pt x="114092" y="27563"/>
                  <a:pt x="107601" y="25443"/>
                  <a:pt x="102454" y="21504"/>
                </a:cubicBezTo>
                <a:cubicBezTo>
                  <a:pt x="96791" y="17147"/>
                  <a:pt x="91803" y="10369"/>
                  <a:pt x="84703" y="10369"/>
                </a:cubicBezTo>
                <a:cubicBezTo>
                  <a:pt x="84624" y="10369"/>
                  <a:pt x="84544" y="10370"/>
                  <a:pt x="84464" y="10371"/>
                </a:cubicBezTo>
                <a:cubicBezTo>
                  <a:pt x="77370" y="10524"/>
                  <a:pt x="71793" y="17722"/>
                  <a:pt x="64740" y="17722"/>
                </a:cubicBezTo>
                <a:cubicBezTo>
                  <a:pt x="64643" y="17722"/>
                  <a:pt x="64547" y="17720"/>
                  <a:pt x="64449" y="17718"/>
                </a:cubicBezTo>
                <a:cubicBezTo>
                  <a:pt x="56187" y="17479"/>
                  <a:pt x="51829" y="7943"/>
                  <a:pt x="45007" y="3287"/>
                </a:cubicBezTo>
                <a:cubicBezTo>
                  <a:pt x="41712" y="1036"/>
                  <a:pt x="37773" y="1"/>
                  <a:pt x="33782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11"/>
          <p:cNvSpPr/>
          <p:nvPr/>
        </p:nvSpPr>
        <p:spPr>
          <a:xfrm>
            <a:off x="1082725" y="746825"/>
            <a:ext cx="6988200" cy="3642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11"/>
          <p:cNvSpPr/>
          <p:nvPr/>
        </p:nvSpPr>
        <p:spPr>
          <a:xfrm flipH="1">
            <a:off x="5344963" y="3929538"/>
            <a:ext cx="3799190" cy="1235077"/>
          </a:xfrm>
          <a:custGeom>
            <a:avLst/>
            <a:gdLst/>
            <a:ahLst/>
            <a:cxnLst/>
            <a:rect l="l" t="t" r="r" b="b"/>
            <a:pathLst>
              <a:path w="85155" h="27683" extrusionOk="0">
                <a:moveTo>
                  <a:pt x="24" y="1"/>
                </a:moveTo>
                <a:lnTo>
                  <a:pt x="1" y="27683"/>
                </a:lnTo>
                <a:lnTo>
                  <a:pt x="85154" y="27683"/>
                </a:lnTo>
                <a:cubicBezTo>
                  <a:pt x="81689" y="23277"/>
                  <a:pt x="78153" y="18813"/>
                  <a:pt x="73593" y="15562"/>
                </a:cubicBezTo>
                <a:cubicBezTo>
                  <a:pt x="70012" y="13016"/>
                  <a:pt x="65664" y="11288"/>
                  <a:pt x="61333" y="11288"/>
                </a:cubicBezTo>
                <a:cubicBezTo>
                  <a:pt x="60134" y="11288"/>
                  <a:pt x="58937" y="11421"/>
                  <a:pt x="57758" y="11705"/>
                </a:cubicBezTo>
                <a:cubicBezTo>
                  <a:pt x="54422" y="12512"/>
                  <a:pt x="51323" y="14479"/>
                  <a:pt x="47895" y="14479"/>
                </a:cubicBezTo>
                <a:cubicBezTo>
                  <a:pt x="47884" y="14479"/>
                  <a:pt x="47874" y="14479"/>
                  <a:pt x="47864" y="14479"/>
                </a:cubicBezTo>
                <a:cubicBezTo>
                  <a:pt x="40863" y="14455"/>
                  <a:pt x="36005" y="6418"/>
                  <a:pt x="29028" y="5954"/>
                </a:cubicBezTo>
                <a:cubicBezTo>
                  <a:pt x="28807" y="5939"/>
                  <a:pt x="28588" y="5932"/>
                  <a:pt x="28369" y="5932"/>
                </a:cubicBezTo>
                <a:cubicBezTo>
                  <a:pt x="24082" y="5932"/>
                  <a:pt x="20179" y="8697"/>
                  <a:pt x="15919" y="9490"/>
                </a:cubicBezTo>
                <a:cubicBezTo>
                  <a:pt x="15260" y="9612"/>
                  <a:pt x="14609" y="9670"/>
                  <a:pt x="13967" y="9670"/>
                </a:cubicBezTo>
                <a:cubicBezTo>
                  <a:pt x="8159" y="9670"/>
                  <a:pt x="3155" y="4922"/>
                  <a:pt x="24" y="1"/>
                </a:cubicBezTo>
                <a:close/>
              </a:path>
            </a:pathLst>
          </a:cu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" name="Google Shape;105;p11"/>
          <p:cNvSpPr/>
          <p:nvPr/>
        </p:nvSpPr>
        <p:spPr>
          <a:xfrm rot="10800000">
            <a:off x="6266528" y="3869764"/>
            <a:ext cx="2877426" cy="1294853"/>
          </a:xfrm>
          <a:custGeom>
            <a:avLst/>
            <a:gdLst/>
            <a:ahLst/>
            <a:cxnLst/>
            <a:rect l="l" t="t" r="r" b="b"/>
            <a:pathLst>
              <a:path w="39293" h="17682" extrusionOk="0">
                <a:moveTo>
                  <a:pt x="1" y="1"/>
                </a:moveTo>
                <a:lnTo>
                  <a:pt x="1" y="12987"/>
                </a:lnTo>
                <a:cubicBezTo>
                  <a:pt x="1797" y="11513"/>
                  <a:pt x="3849" y="10263"/>
                  <a:pt x="6344" y="9816"/>
                </a:cubicBezTo>
                <a:cubicBezTo>
                  <a:pt x="6911" y="9714"/>
                  <a:pt x="7498" y="9667"/>
                  <a:pt x="8094" y="9667"/>
                </a:cubicBezTo>
                <a:cubicBezTo>
                  <a:pt x="10310" y="9667"/>
                  <a:pt x="12641" y="10313"/>
                  <a:pt x="14521" y="11169"/>
                </a:cubicBezTo>
                <a:cubicBezTo>
                  <a:pt x="18573" y="13008"/>
                  <a:pt x="22965" y="17682"/>
                  <a:pt x="28417" y="17682"/>
                </a:cubicBezTo>
                <a:cubicBezTo>
                  <a:pt x="29018" y="17682"/>
                  <a:pt x="29631" y="17625"/>
                  <a:pt x="30259" y="17502"/>
                </a:cubicBezTo>
                <a:cubicBezTo>
                  <a:pt x="36012" y="16361"/>
                  <a:pt x="36301" y="11693"/>
                  <a:pt x="37552" y="7681"/>
                </a:cubicBezTo>
                <a:cubicBezTo>
                  <a:pt x="38250" y="5421"/>
                  <a:pt x="38583" y="2616"/>
                  <a:pt x="39293" y="1"/>
                </a:cubicBezTo>
                <a:close/>
              </a:path>
            </a:pathLst>
          </a:cu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" name="Google Shape;106;p11"/>
          <p:cNvSpPr/>
          <p:nvPr/>
        </p:nvSpPr>
        <p:spPr>
          <a:xfrm>
            <a:off x="5916036" y="4353722"/>
            <a:ext cx="3228165" cy="810911"/>
          </a:xfrm>
          <a:custGeom>
            <a:avLst/>
            <a:gdLst/>
            <a:ahLst/>
            <a:cxnLst/>
            <a:rect l="l" t="t" r="r" b="b"/>
            <a:pathLst>
              <a:path w="136613" h="34317" extrusionOk="0">
                <a:moveTo>
                  <a:pt x="130454" y="1"/>
                </a:moveTo>
                <a:cubicBezTo>
                  <a:pt x="123279" y="1"/>
                  <a:pt x="116079" y="2986"/>
                  <a:pt x="111193" y="8278"/>
                </a:cubicBezTo>
                <a:cubicBezTo>
                  <a:pt x="106847" y="12993"/>
                  <a:pt x="103478" y="19803"/>
                  <a:pt x="97132" y="20708"/>
                </a:cubicBezTo>
                <a:cubicBezTo>
                  <a:pt x="96665" y="20775"/>
                  <a:pt x="96201" y="20806"/>
                  <a:pt x="95741" y="20806"/>
                </a:cubicBezTo>
                <a:cubicBezTo>
                  <a:pt x="90211" y="20806"/>
                  <a:pt x="85124" y="16362"/>
                  <a:pt x="79460" y="16362"/>
                </a:cubicBezTo>
                <a:cubicBezTo>
                  <a:pt x="79453" y="16362"/>
                  <a:pt x="79446" y="16362"/>
                  <a:pt x="79439" y="16362"/>
                </a:cubicBezTo>
                <a:cubicBezTo>
                  <a:pt x="69533" y="16386"/>
                  <a:pt x="63520" y="29543"/>
                  <a:pt x="53614" y="29757"/>
                </a:cubicBezTo>
                <a:cubicBezTo>
                  <a:pt x="53538" y="29758"/>
                  <a:pt x="53461" y="29759"/>
                  <a:pt x="53385" y="29759"/>
                </a:cubicBezTo>
                <a:cubicBezTo>
                  <a:pt x="47007" y="29759"/>
                  <a:pt x="42046" y="24386"/>
                  <a:pt x="36446" y="21268"/>
                </a:cubicBezTo>
                <a:cubicBezTo>
                  <a:pt x="32619" y="19136"/>
                  <a:pt x="28233" y="18045"/>
                  <a:pt x="23849" y="18045"/>
                </a:cubicBezTo>
                <a:cubicBezTo>
                  <a:pt x="20936" y="18045"/>
                  <a:pt x="18024" y="18527"/>
                  <a:pt x="15276" y="19506"/>
                </a:cubicBezTo>
                <a:cubicBezTo>
                  <a:pt x="8406" y="21958"/>
                  <a:pt x="2691" y="27471"/>
                  <a:pt x="1" y="34257"/>
                </a:cubicBezTo>
                <a:lnTo>
                  <a:pt x="136613" y="34317"/>
                </a:lnTo>
                <a:lnTo>
                  <a:pt x="136613" y="765"/>
                </a:lnTo>
                <a:cubicBezTo>
                  <a:pt x="134600" y="250"/>
                  <a:pt x="132528" y="1"/>
                  <a:pt x="130454" y="1"/>
                </a:cubicBezTo>
                <a:close/>
              </a:path>
            </a:pathLst>
          </a:cu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" name="Google Shape;107;p11"/>
          <p:cNvSpPr txBox="1">
            <a:spLocks noGrp="1"/>
          </p:cNvSpPr>
          <p:nvPr>
            <p:ph type="title" hasCustomPrompt="1"/>
          </p:nvPr>
        </p:nvSpPr>
        <p:spPr>
          <a:xfrm>
            <a:off x="2847225" y="1556100"/>
            <a:ext cx="3449700" cy="1493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0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08" name="Google Shape;108;p11"/>
          <p:cNvSpPr txBox="1">
            <a:spLocks noGrp="1"/>
          </p:cNvSpPr>
          <p:nvPr>
            <p:ph type="subTitle" idx="1"/>
          </p:nvPr>
        </p:nvSpPr>
        <p:spPr>
          <a:xfrm>
            <a:off x="2847200" y="3036425"/>
            <a:ext cx="3449700" cy="738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1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solidFill>
          <a:srgbClr val="FFFFFF"/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75" y="445025"/>
            <a:ext cx="7717500" cy="7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aloo 2"/>
              <a:buNone/>
              <a:defRPr sz="3600" b="1">
                <a:solidFill>
                  <a:schemeClr val="dk1"/>
                </a:solidFill>
                <a:latin typeface="Baloo 2"/>
                <a:ea typeface="Baloo 2"/>
                <a:cs typeface="Baloo 2"/>
                <a:sym typeface="Baloo 2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aloo 2"/>
              <a:buNone/>
              <a:defRPr sz="3600" b="1">
                <a:solidFill>
                  <a:schemeClr val="dk1"/>
                </a:solidFill>
                <a:latin typeface="Baloo 2"/>
                <a:ea typeface="Baloo 2"/>
                <a:cs typeface="Baloo 2"/>
                <a:sym typeface="Baloo 2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aloo 2"/>
              <a:buNone/>
              <a:defRPr sz="3600" b="1">
                <a:solidFill>
                  <a:schemeClr val="dk1"/>
                </a:solidFill>
                <a:latin typeface="Baloo 2"/>
                <a:ea typeface="Baloo 2"/>
                <a:cs typeface="Baloo 2"/>
                <a:sym typeface="Baloo 2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aloo 2"/>
              <a:buNone/>
              <a:defRPr sz="3600" b="1">
                <a:solidFill>
                  <a:schemeClr val="dk1"/>
                </a:solidFill>
                <a:latin typeface="Baloo 2"/>
                <a:ea typeface="Baloo 2"/>
                <a:cs typeface="Baloo 2"/>
                <a:sym typeface="Baloo 2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aloo 2"/>
              <a:buNone/>
              <a:defRPr sz="3600" b="1">
                <a:solidFill>
                  <a:schemeClr val="dk1"/>
                </a:solidFill>
                <a:latin typeface="Baloo 2"/>
                <a:ea typeface="Baloo 2"/>
                <a:cs typeface="Baloo 2"/>
                <a:sym typeface="Baloo 2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aloo 2"/>
              <a:buNone/>
              <a:defRPr sz="3600" b="1">
                <a:solidFill>
                  <a:schemeClr val="dk1"/>
                </a:solidFill>
                <a:latin typeface="Baloo 2"/>
                <a:ea typeface="Baloo 2"/>
                <a:cs typeface="Baloo 2"/>
                <a:sym typeface="Baloo 2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aloo 2"/>
              <a:buNone/>
              <a:defRPr sz="3600" b="1">
                <a:solidFill>
                  <a:schemeClr val="dk1"/>
                </a:solidFill>
                <a:latin typeface="Baloo 2"/>
                <a:ea typeface="Baloo 2"/>
                <a:cs typeface="Baloo 2"/>
                <a:sym typeface="Baloo 2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aloo 2"/>
              <a:buNone/>
              <a:defRPr sz="3600" b="1">
                <a:solidFill>
                  <a:schemeClr val="dk1"/>
                </a:solidFill>
                <a:latin typeface="Baloo 2"/>
                <a:ea typeface="Baloo 2"/>
                <a:cs typeface="Baloo 2"/>
                <a:sym typeface="Baloo 2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aloo 2"/>
              <a:buNone/>
              <a:defRPr sz="3600" b="1">
                <a:solidFill>
                  <a:schemeClr val="dk1"/>
                </a:solidFill>
                <a:latin typeface="Baloo 2"/>
                <a:ea typeface="Baloo 2"/>
                <a:cs typeface="Baloo 2"/>
                <a:sym typeface="Baloo 2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75" y="1152475"/>
            <a:ext cx="77175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notesSlide" Target="../notesSlides/notesSlide3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slideLayout" Target="../slideLayouts/slideLayout10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" name="Google Shape;137;p18"/>
          <p:cNvGrpSpPr/>
          <p:nvPr/>
        </p:nvGrpSpPr>
        <p:grpSpPr>
          <a:xfrm rot="10800000">
            <a:off x="713400" y="1134338"/>
            <a:ext cx="427725" cy="162000"/>
            <a:chOff x="979125" y="1666875"/>
            <a:chExt cx="427725" cy="162000"/>
          </a:xfrm>
        </p:grpSpPr>
        <p:sp>
          <p:nvSpPr>
            <p:cNvPr id="138" name="Google Shape;138;p18"/>
            <p:cNvSpPr/>
            <p:nvPr/>
          </p:nvSpPr>
          <p:spPr>
            <a:xfrm>
              <a:off x="979125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139;p18"/>
            <p:cNvSpPr/>
            <p:nvPr/>
          </p:nvSpPr>
          <p:spPr>
            <a:xfrm>
              <a:off x="1244850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40" name="Google Shape;140;p18"/>
          <p:cNvSpPr/>
          <p:nvPr/>
        </p:nvSpPr>
        <p:spPr>
          <a:xfrm rot="10800000">
            <a:off x="6362108" y="-12"/>
            <a:ext cx="3558131" cy="1211312"/>
          </a:xfrm>
          <a:custGeom>
            <a:avLst/>
            <a:gdLst/>
            <a:ahLst/>
            <a:cxnLst/>
            <a:rect l="l" t="t" r="r" b="b"/>
            <a:pathLst>
              <a:path w="29571" h="10067" extrusionOk="0">
                <a:moveTo>
                  <a:pt x="10181" y="0"/>
                </a:moveTo>
                <a:cubicBezTo>
                  <a:pt x="5410" y="0"/>
                  <a:pt x="2293" y="2806"/>
                  <a:pt x="0" y="10066"/>
                </a:cubicBezTo>
                <a:lnTo>
                  <a:pt x="29570" y="10066"/>
                </a:lnTo>
                <a:cubicBezTo>
                  <a:pt x="16901" y="4324"/>
                  <a:pt x="15443" y="0"/>
                  <a:pt x="10181" y="0"/>
                </a:cubicBezTo>
                <a:close/>
              </a:path>
            </a:pathLst>
          </a:cu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1" name="Google Shape;141;p18"/>
          <p:cNvSpPr/>
          <p:nvPr/>
        </p:nvSpPr>
        <p:spPr>
          <a:xfrm rot="10800000">
            <a:off x="-76200" y="6"/>
            <a:ext cx="4207839" cy="1074716"/>
          </a:xfrm>
          <a:custGeom>
            <a:avLst/>
            <a:gdLst/>
            <a:ahLst/>
            <a:cxnLst/>
            <a:rect l="l" t="t" r="r" b="b"/>
            <a:pathLst>
              <a:path w="127327" h="41769" extrusionOk="0">
                <a:moveTo>
                  <a:pt x="33782" y="1"/>
                </a:moveTo>
                <a:cubicBezTo>
                  <a:pt x="29984" y="1"/>
                  <a:pt x="26138" y="938"/>
                  <a:pt x="22754" y="2656"/>
                </a:cubicBezTo>
                <a:cubicBezTo>
                  <a:pt x="15812" y="6192"/>
                  <a:pt x="10669" y="12586"/>
                  <a:pt x="7228" y="19575"/>
                </a:cubicBezTo>
                <a:cubicBezTo>
                  <a:pt x="3775" y="26564"/>
                  <a:pt x="1882" y="34184"/>
                  <a:pt x="1" y="41744"/>
                </a:cubicBezTo>
                <a:lnTo>
                  <a:pt x="127326" y="41768"/>
                </a:lnTo>
                <a:lnTo>
                  <a:pt x="127326" y="26766"/>
                </a:lnTo>
                <a:cubicBezTo>
                  <a:pt x="125115" y="27301"/>
                  <a:pt x="122843" y="27563"/>
                  <a:pt x="120569" y="27563"/>
                </a:cubicBezTo>
                <a:cubicBezTo>
                  <a:pt x="114092" y="27563"/>
                  <a:pt x="107601" y="25443"/>
                  <a:pt x="102454" y="21504"/>
                </a:cubicBezTo>
                <a:cubicBezTo>
                  <a:pt x="96791" y="17147"/>
                  <a:pt x="91803" y="10369"/>
                  <a:pt x="84703" y="10369"/>
                </a:cubicBezTo>
                <a:cubicBezTo>
                  <a:pt x="84624" y="10369"/>
                  <a:pt x="84544" y="10370"/>
                  <a:pt x="84464" y="10371"/>
                </a:cubicBezTo>
                <a:cubicBezTo>
                  <a:pt x="77370" y="10524"/>
                  <a:pt x="71793" y="17722"/>
                  <a:pt x="64740" y="17722"/>
                </a:cubicBezTo>
                <a:cubicBezTo>
                  <a:pt x="64643" y="17722"/>
                  <a:pt x="64547" y="17720"/>
                  <a:pt x="64449" y="17718"/>
                </a:cubicBezTo>
                <a:cubicBezTo>
                  <a:pt x="56187" y="17479"/>
                  <a:pt x="51829" y="7943"/>
                  <a:pt x="45007" y="3287"/>
                </a:cubicBezTo>
                <a:cubicBezTo>
                  <a:pt x="41712" y="1036"/>
                  <a:pt x="37773" y="1"/>
                  <a:pt x="33782" y="1"/>
                </a:cubicBezTo>
                <a:close/>
              </a:path>
            </a:pathLst>
          </a:cu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2" name="Google Shape;142;p18"/>
          <p:cNvSpPr/>
          <p:nvPr/>
        </p:nvSpPr>
        <p:spPr>
          <a:xfrm>
            <a:off x="-76061" y="25"/>
            <a:ext cx="3378498" cy="1310416"/>
          </a:xfrm>
          <a:custGeom>
            <a:avLst/>
            <a:gdLst/>
            <a:ahLst/>
            <a:cxnLst/>
            <a:rect l="l" t="t" r="r" b="b"/>
            <a:pathLst>
              <a:path w="37492" h="14542" extrusionOk="0">
                <a:moveTo>
                  <a:pt x="1" y="0"/>
                </a:moveTo>
                <a:lnTo>
                  <a:pt x="1" y="10099"/>
                </a:lnTo>
                <a:cubicBezTo>
                  <a:pt x="1128" y="12447"/>
                  <a:pt x="3160" y="14542"/>
                  <a:pt x="5531" y="14542"/>
                </a:cubicBezTo>
                <a:cubicBezTo>
                  <a:pt x="5928" y="14542"/>
                  <a:pt x="6335" y="14483"/>
                  <a:pt x="6748" y="14357"/>
                </a:cubicBezTo>
                <a:cubicBezTo>
                  <a:pt x="10645" y="13167"/>
                  <a:pt x="12048" y="9013"/>
                  <a:pt x="15247" y="7703"/>
                </a:cubicBezTo>
                <a:cubicBezTo>
                  <a:pt x="15945" y="7416"/>
                  <a:pt x="16655" y="7304"/>
                  <a:pt x="17363" y="7304"/>
                </a:cubicBezTo>
                <a:cubicBezTo>
                  <a:pt x="18715" y="7304"/>
                  <a:pt x="20059" y="7714"/>
                  <a:pt x="21285" y="8101"/>
                </a:cubicBezTo>
                <a:cubicBezTo>
                  <a:pt x="23881" y="8921"/>
                  <a:pt x="26534" y="9688"/>
                  <a:pt x="28911" y="9688"/>
                </a:cubicBezTo>
                <a:cubicBezTo>
                  <a:pt x="29383" y="9688"/>
                  <a:pt x="29844" y="9657"/>
                  <a:pt x="30292" y="9591"/>
                </a:cubicBezTo>
                <a:cubicBezTo>
                  <a:pt x="33807" y="9073"/>
                  <a:pt x="35663" y="7594"/>
                  <a:pt x="36880" y="4367"/>
                </a:cubicBezTo>
                <a:cubicBezTo>
                  <a:pt x="37388" y="3014"/>
                  <a:pt x="37492" y="1545"/>
                  <a:pt x="37393" y="0"/>
                </a:cubicBezTo>
                <a:close/>
              </a:path>
            </a:pathLst>
          </a:cu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3" name="Google Shape;143;p18"/>
          <p:cNvSpPr/>
          <p:nvPr/>
        </p:nvSpPr>
        <p:spPr>
          <a:xfrm>
            <a:off x="713388" y="2088275"/>
            <a:ext cx="959100" cy="959100"/>
          </a:xfrm>
          <a:prstGeom prst="ellipse">
            <a:avLst/>
          </a:pr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4" name="Google Shape;144;p18"/>
          <p:cNvSpPr/>
          <p:nvPr/>
        </p:nvSpPr>
        <p:spPr>
          <a:xfrm flipH="1">
            <a:off x="5031552" y="59954"/>
            <a:ext cx="959100" cy="959100"/>
          </a:xfrm>
          <a:prstGeom prst="ellipse">
            <a:avLst/>
          </a:pr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5" name="Google Shape;145;p18"/>
          <p:cNvSpPr/>
          <p:nvPr/>
        </p:nvSpPr>
        <p:spPr>
          <a:xfrm>
            <a:off x="-415950" y="3321427"/>
            <a:ext cx="5352277" cy="1822026"/>
          </a:xfrm>
          <a:custGeom>
            <a:avLst/>
            <a:gdLst/>
            <a:ahLst/>
            <a:cxnLst/>
            <a:rect l="l" t="t" r="r" b="b"/>
            <a:pathLst>
              <a:path w="29571" h="10067" extrusionOk="0">
                <a:moveTo>
                  <a:pt x="10181" y="0"/>
                </a:moveTo>
                <a:cubicBezTo>
                  <a:pt x="5410" y="0"/>
                  <a:pt x="2293" y="2806"/>
                  <a:pt x="0" y="10066"/>
                </a:cubicBezTo>
                <a:lnTo>
                  <a:pt x="29570" y="10066"/>
                </a:lnTo>
                <a:cubicBezTo>
                  <a:pt x="16901" y="4324"/>
                  <a:pt x="15443" y="0"/>
                  <a:pt x="10181" y="0"/>
                </a:cubicBezTo>
                <a:close/>
              </a:path>
            </a:pathLst>
          </a:cu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6" name="Google Shape;146;p18"/>
          <p:cNvSpPr/>
          <p:nvPr/>
        </p:nvSpPr>
        <p:spPr>
          <a:xfrm>
            <a:off x="-468900" y="3932197"/>
            <a:ext cx="3558131" cy="1211287"/>
          </a:xfrm>
          <a:custGeom>
            <a:avLst/>
            <a:gdLst/>
            <a:ahLst/>
            <a:cxnLst/>
            <a:rect l="l" t="t" r="r" b="b"/>
            <a:pathLst>
              <a:path w="29571" h="10067" extrusionOk="0">
                <a:moveTo>
                  <a:pt x="10181" y="0"/>
                </a:moveTo>
                <a:cubicBezTo>
                  <a:pt x="5410" y="0"/>
                  <a:pt x="2293" y="2806"/>
                  <a:pt x="0" y="10066"/>
                </a:cubicBezTo>
                <a:lnTo>
                  <a:pt x="29570" y="10066"/>
                </a:lnTo>
                <a:cubicBezTo>
                  <a:pt x="16901" y="4324"/>
                  <a:pt x="15443" y="0"/>
                  <a:pt x="10181" y="0"/>
                </a:cubicBezTo>
                <a:close/>
              </a:path>
            </a:pathLst>
          </a:cu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7" name="Google Shape;147;p18"/>
          <p:cNvSpPr/>
          <p:nvPr/>
        </p:nvSpPr>
        <p:spPr>
          <a:xfrm flipH="1">
            <a:off x="3964989" y="4158047"/>
            <a:ext cx="5672961" cy="985453"/>
          </a:xfrm>
          <a:custGeom>
            <a:avLst/>
            <a:gdLst/>
            <a:ahLst/>
            <a:cxnLst/>
            <a:rect l="l" t="t" r="r" b="b"/>
            <a:pathLst>
              <a:path w="111634" h="19392" extrusionOk="0">
                <a:moveTo>
                  <a:pt x="17433" y="1"/>
                </a:moveTo>
                <a:cubicBezTo>
                  <a:pt x="14716" y="1"/>
                  <a:pt x="11947" y="743"/>
                  <a:pt x="9561" y="1913"/>
                </a:cubicBezTo>
                <a:cubicBezTo>
                  <a:pt x="5859" y="3735"/>
                  <a:pt x="2906" y="6473"/>
                  <a:pt x="1" y="9164"/>
                </a:cubicBezTo>
                <a:lnTo>
                  <a:pt x="13" y="19392"/>
                </a:lnTo>
                <a:lnTo>
                  <a:pt x="111634" y="19392"/>
                </a:lnTo>
                <a:cubicBezTo>
                  <a:pt x="109729" y="13701"/>
                  <a:pt x="104597" y="8878"/>
                  <a:pt x="98156" y="6747"/>
                </a:cubicBezTo>
                <a:cubicBezTo>
                  <a:pt x="95615" y="5905"/>
                  <a:pt x="92895" y="5490"/>
                  <a:pt x="90173" y="5490"/>
                </a:cubicBezTo>
                <a:cubicBezTo>
                  <a:pt x="86008" y="5490"/>
                  <a:pt x="81839" y="6461"/>
                  <a:pt x="78296" y="8355"/>
                </a:cubicBezTo>
                <a:cubicBezTo>
                  <a:pt x="74544" y="10355"/>
                  <a:pt x="70871" y="13455"/>
                  <a:pt x="66643" y="13455"/>
                </a:cubicBezTo>
                <a:cubicBezTo>
                  <a:pt x="66215" y="13455"/>
                  <a:pt x="65782" y="13423"/>
                  <a:pt x="65342" y="13355"/>
                </a:cubicBezTo>
                <a:cubicBezTo>
                  <a:pt x="60723" y="12643"/>
                  <a:pt x="57607" y="8057"/>
                  <a:pt x="52925" y="8057"/>
                </a:cubicBezTo>
                <a:cubicBezTo>
                  <a:pt x="52912" y="8057"/>
                  <a:pt x="52900" y="8057"/>
                  <a:pt x="52888" y="8057"/>
                </a:cubicBezTo>
                <a:cubicBezTo>
                  <a:pt x="48662" y="8081"/>
                  <a:pt x="45649" y="11855"/>
                  <a:pt x="41494" y="12522"/>
                </a:cubicBezTo>
                <a:cubicBezTo>
                  <a:pt x="41049" y="12593"/>
                  <a:pt x="40607" y="12627"/>
                  <a:pt x="40168" y="12627"/>
                </a:cubicBezTo>
                <a:cubicBezTo>
                  <a:pt x="36587" y="12627"/>
                  <a:pt x="33279" y="10372"/>
                  <a:pt x="30850" y="7986"/>
                </a:cubicBezTo>
                <a:cubicBezTo>
                  <a:pt x="28123" y="5295"/>
                  <a:pt x="25671" y="2151"/>
                  <a:pt x="21849" y="747"/>
                </a:cubicBezTo>
                <a:cubicBezTo>
                  <a:pt x="20443" y="231"/>
                  <a:pt x="18946" y="1"/>
                  <a:pt x="17433" y="1"/>
                </a:cubicBezTo>
                <a:close/>
              </a:path>
            </a:pathLst>
          </a:custGeom>
          <a:solidFill>
            <a:srgbClr val="FF4D01">
              <a:alpha val="506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18"/>
          <p:cNvSpPr/>
          <p:nvPr/>
        </p:nvSpPr>
        <p:spPr>
          <a:xfrm>
            <a:off x="2260188" y="685148"/>
            <a:ext cx="6974959" cy="2725546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9" name="Google Shape;149;p18"/>
          <p:cNvSpPr txBox="1">
            <a:spLocks noGrp="1"/>
          </p:cNvSpPr>
          <p:nvPr>
            <p:ph type="ctrTitle"/>
          </p:nvPr>
        </p:nvSpPr>
        <p:spPr>
          <a:xfrm>
            <a:off x="2727673" y="1142212"/>
            <a:ext cx="5849700" cy="152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VRINDA STORE DATA ANALYSIS</a:t>
            </a:r>
            <a:endParaRPr b="0" dirty="0">
              <a:latin typeface="Baloo 2 ExtraBold"/>
              <a:ea typeface="Baloo 2 ExtraBold"/>
              <a:cs typeface="Baloo 2 ExtraBold"/>
              <a:sym typeface="Baloo 2 ExtraBold"/>
            </a:endParaRPr>
          </a:p>
        </p:txBody>
      </p:sp>
      <p:grpSp>
        <p:nvGrpSpPr>
          <p:cNvPr id="151" name="Google Shape;151;p18"/>
          <p:cNvGrpSpPr/>
          <p:nvPr/>
        </p:nvGrpSpPr>
        <p:grpSpPr>
          <a:xfrm rot="10800000">
            <a:off x="7270850" y="3839288"/>
            <a:ext cx="959175" cy="162000"/>
            <a:chOff x="447675" y="1666875"/>
            <a:chExt cx="959175" cy="162000"/>
          </a:xfrm>
        </p:grpSpPr>
        <p:sp>
          <p:nvSpPr>
            <p:cNvPr id="152" name="Google Shape;152;p18"/>
            <p:cNvSpPr/>
            <p:nvPr/>
          </p:nvSpPr>
          <p:spPr>
            <a:xfrm>
              <a:off x="447675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18"/>
            <p:cNvSpPr/>
            <p:nvPr/>
          </p:nvSpPr>
          <p:spPr>
            <a:xfrm>
              <a:off x="713400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154;p18"/>
            <p:cNvSpPr/>
            <p:nvPr/>
          </p:nvSpPr>
          <p:spPr>
            <a:xfrm>
              <a:off x="979125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155;p18"/>
            <p:cNvSpPr/>
            <p:nvPr/>
          </p:nvSpPr>
          <p:spPr>
            <a:xfrm>
              <a:off x="1244850" y="1666875"/>
              <a:ext cx="162000" cy="162000"/>
            </a:xfrm>
            <a:prstGeom prst="ellipse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6" name="Google Shape;156;p18"/>
          <p:cNvSpPr/>
          <p:nvPr/>
        </p:nvSpPr>
        <p:spPr>
          <a:xfrm>
            <a:off x="7005200" y="3509102"/>
            <a:ext cx="959100" cy="49500"/>
          </a:xfrm>
          <a:prstGeom prst="roundRect">
            <a:avLst>
              <a:gd name="adj" fmla="val 500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150243-D130-01A1-AD0F-2FEAF3E56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THE DATASE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250A22-CD4B-0FDE-327E-BE8A632F41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3972" y="1090032"/>
            <a:ext cx="8016056" cy="3715884"/>
          </a:xfrm>
        </p:spPr>
        <p:txBody>
          <a:bodyPr/>
          <a:lstStyle/>
          <a:p>
            <a:pPr marL="152400" indent="0">
              <a:lnSpc>
                <a:spcPct val="150000"/>
              </a:lnSpc>
              <a:buNone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“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rinda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" dataset is a comprehensive collection of information pertaining to sales transactions, capturing various attributes that offer a detailed insight into the business operations. Each record is identified by a numerical index, and sales orders are uniquely coded through the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rder ID. Customer details like (Cust ID), gender and categorized age groups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provides the demographic landscape. The dataset chronicles the specifics of each transaction, such as the date, order processing status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Status),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the sales channel utilized (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nne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l), ranging from platforms like Amazon to Flipkart. Product-related details include the Stock Keeping Unit (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K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), denoting a unique identifier for each item, the product category (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tegor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),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ize variant (Size), quantity ordered (Qty), and the total sales amount (Amount)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Furthermore, shipping information, including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ity (Ship-City), state (Ship-State), postal code (Ship-Postal-Code), and country (Ship-Country),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 meticulously recorded. The dataset also features an indication of whether a transaction is business-to-business (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2B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998703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19"/>
          <p:cNvSpPr txBox="1">
            <a:spLocks noGrp="1"/>
          </p:cNvSpPr>
          <p:nvPr>
            <p:ph type="title"/>
          </p:nvPr>
        </p:nvSpPr>
        <p:spPr>
          <a:xfrm>
            <a:off x="713275" y="445025"/>
            <a:ext cx="7717500" cy="74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dirty="0">
                <a:latin typeface="Baloo 2 ExtraBold"/>
                <a:ea typeface="Baloo 2 ExtraBold"/>
                <a:cs typeface="Baloo 2 ExtraBold"/>
                <a:sym typeface="Baloo 2 ExtraBold"/>
              </a:rPr>
              <a:t>OBJECTIVE</a:t>
            </a:r>
            <a:endParaRPr b="0" dirty="0">
              <a:latin typeface="Baloo 2 ExtraBold"/>
              <a:ea typeface="Baloo 2 ExtraBold"/>
              <a:cs typeface="Baloo 2 ExtraBold"/>
              <a:sym typeface="Baloo 2 ExtraBold"/>
            </a:endParaRPr>
          </a:p>
        </p:txBody>
      </p:sp>
      <p:sp>
        <p:nvSpPr>
          <p:cNvPr id="162" name="Google Shape;162;p19"/>
          <p:cNvSpPr txBox="1">
            <a:spLocks noGrp="1"/>
          </p:cNvSpPr>
          <p:nvPr>
            <p:ph type="body" idx="1"/>
          </p:nvPr>
        </p:nvSpPr>
        <p:spPr>
          <a:xfrm>
            <a:off x="173448" y="1590915"/>
            <a:ext cx="8761232" cy="98083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rinda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tore wants to create an annual sales report for 2022 so that </a:t>
            </a:r>
            <a:r>
              <a:rPr lang="en-US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rinda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an understand their customers and grow more sales in 2023</a:t>
            </a:r>
            <a:endParaRPr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Picture 2" descr="Vrinda">
            <a:extLst>
              <a:ext uri="{FF2B5EF4-FFF2-40B4-BE49-F238E27FC236}">
                <a16:creationId xmlns:a16="http://schemas.microsoft.com/office/drawing/2014/main" id="{2AB092F0-11FE-084E-506B-9063286D4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9002" y="2716107"/>
            <a:ext cx="2171700" cy="1542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Content Placeholder 3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4689" y="1028361"/>
            <a:ext cx="8214623" cy="38525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oadmap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984823" y="2971932"/>
            <a:ext cx="231344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n-US" sz="1350" b="1" dirty="0">
                <a:solidFill>
                  <a:schemeClr val="accent1"/>
                </a:solidFill>
              </a:rPr>
              <a:t>DATA GATHER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14070" y="2024020"/>
            <a:ext cx="168679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n-US" sz="1350" b="1" dirty="0">
                <a:solidFill>
                  <a:schemeClr val="accent2"/>
                </a:solidFill>
              </a:rPr>
              <a:t>DATA CLEAN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865166" y="1542365"/>
            <a:ext cx="29919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n-US" sz="1350" b="1" dirty="0">
                <a:solidFill>
                  <a:schemeClr val="accent3"/>
                </a:solidFill>
              </a:rPr>
              <a:t>DATA PROCESSING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4688" y="1149181"/>
            <a:ext cx="2495282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>
              <a:buClrTx/>
              <a:defRPr/>
            </a:pPr>
            <a:r>
              <a:rPr lang="en-US" sz="1350" b="1" dirty="0">
                <a:solidFill>
                  <a:schemeClr val="bg1">
                    <a:lumMod val="50000"/>
                  </a:schemeClr>
                </a:solidFill>
              </a:rPr>
              <a:t>DATA ANALYSIS</a:t>
            </a:r>
          </a:p>
          <a:p>
            <a:pPr algn="r" defTabSz="685800">
              <a:buClrTx/>
              <a:defRPr/>
            </a:pPr>
            <a:r>
              <a:rPr lang="en-US" sz="1200" dirty="0"/>
              <a:t>. </a:t>
            </a:r>
            <a:endParaRPr lang="en-US" sz="1350" dirty="0"/>
          </a:p>
        </p:txBody>
      </p:sp>
      <p:sp>
        <p:nvSpPr>
          <p:cNvPr id="19" name="TextBox 18"/>
          <p:cNvSpPr txBox="1"/>
          <p:nvPr/>
        </p:nvSpPr>
        <p:spPr>
          <a:xfrm>
            <a:off x="4674097" y="797785"/>
            <a:ext cx="369097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n-US" sz="1350" b="1" dirty="0">
                <a:solidFill>
                  <a:schemeClr val="tx2"/>
                </a:solidFill>
              </a:rPr>
              <a:t>DATA VISUALISATION</a:t>
            </a:r>
          </a:p>
        </p:txBody>
      </p:sp>
      <p:grpSp>
        <p:nvGrpSpPr>
          <p:cNvPr id="20" name="POWER_USER_ID_ICONS_Advocacy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401472" y="3097408"/>
            <a:ext cx="441614" cy="509804"/>
            <a:chOff x="8" y="8"/>
            <a:chExt cx="408" cy="471"/>
          </a:xfrm>
          <a:solidFill>
            <a:schemeClr val="accent1"/>
          </a:solidFill>
        </p:grpSpPr>
        <p:sp>
          <p:nvSpPr>
            <p:cNvPr id="21" name="POWER_USER_ID_ICONS_Advocacy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85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POWER_USER_ID_ICONS_Advocacy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0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POWER_USER_ID_ICONS_Advocacy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21" y="264"/>
              <a:ext cx="56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POWER_USER_ID_ICONS_Advocacy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95" y="345"/>
              <a:ext cx="39" cy="86"/>
            </a:xfrm>
            <a:custGeom>
              <a:avLst/>
              <a:gdLst>
                <a:gd name="T0" fmla="*/ 103 w 103"/>
                <a:gd name="T1" fmla="*/ 229 h 229"/>
                <a:gd name="T2" fmla="*/ 20 w 103"/>
                <a:gd name="T3" fmla="*/ 229 h 229"/>
                <a:gd name="T4" fmla="*/ 20 w 103"/>
                <a:gd name="T5" fmla="*/ 76 h 229"/>
                <a:gd name="T6" fmla="*/ 0 w 103"/>
                <a:gd name="T7" fmla="*/ 4 h 229"/>
                <a:gd name="T8" fmla="*/ 23 w 103"/>
                <a:gd name="T9" fmla="*/ 0 h 229"/>
                <a:gd name="T10" fmla="*/ 103 w 103"/>
                <a:gd name="T11" fmla="*/ 81 h 229"/>
                <a:gd name="T12" fmla="*/ 103 w 103"/>
                <a:gd name="T1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229">
                  <a:moveTo>
                    <a:pt x="103" y="229"/>
                  </a:moveTo>
                  <a:lnTo>
                    <a:pt x="20" y="229"/>
                  </a:lnTo>
                  <a:lnTo>
                    <a:pt x="20" y="76"/>
                  </a:lnTo>
                  <a:cubicBezTo>
                    <a:pt x="20" y="50"/>
                    <a:pt x="12" y="25"/>
                    <a:pt x="0" y="4"/>
                  </a:cubicBezTo>
                  <a:cubicBezTo>
                    <a:pt x="7" y="2"/>
                    <a:pt x="15" y="0"/>
                    <a:pt x="23" y="0"/>
                  </a:cubicBezTo>
                  <a:cubicBezTo>
                    <a:pt x="67" y="0"/>
                    <a:pt x="103" y="36"/>
                    <a:pt x="103" y="81"/>
                  </a:cubicBezTo>
                  <a:lnTo>
                    <a:pt x="103" y="2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POWER_USER_ID_ICONS_Advocacy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6" y="264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POWER_USER_ID_ICONS_Advocacy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" y="345"/>
              <a:ext cx="39" cy="86"/>
            </a:xfrm>
            <a:custGeom>
              <a:avLst/>
              <a:gdLst>
                <a:gd name="T0" fmla="*/ 81 w 104"/>
                <a:gd name="T1" fmla="*/ 0 h 229"/>
                <a:gd name="T2" fmla="*/ 104 w 104"/>
                <a:gd name="T3" fmla="*/ 4 h 229"/>
                <a:gd name="T4" fmla="*/ 83 w 104"/>
                <a:gd name="T5" fmla="*/ 76 h 229"/>
                <a:gd name="T6" fmla="*/ 83 w 104"/>
                <a:gd name="T7" fmla="*/ 229 h 229"/>
                <a:gd name="T8" fmla="*/ 0 w 104"/>
                <a:gd name="T9" fmla="*/ 229 h 229"/>
                <a:gd name="T10" fmla="*/ 0 w 104"/>
                <a:gd name="T11" fmla="*/ 81 h 229"/>
                <a:gd name="T12" fmla="*/ 81 w 1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29">
                  <a:moveTo>
                    <a:pt x="81" y="0"/>
                  </a:moveTo>
                  <a:cubicBezTo>
                    <a:pt x="89" y="0"/>
                    <a:pt x="96" y="2"/>
                    <a:pt x="104" y="4"/>
                  </a:cubicBezTo>
                  <a:cubicBezTo>
                    <a:pt x="91" y="25"/>
                    <a:pt x="83" y="50"/>
                    <a:pt x="83" y="76"/>
                  </a:cubicBezTo>
                  <a:lnTo>
                    <a:pt x="83" y="229"/>
                  </a:lnTo>
                  <a:lnTo>
                    <a:pt x="0" y="229"/>
                  </a:lnTo>
                  <a:lnTo>
                    <a:pt x="0" y="81"/>
                  </a:lnTo>
                  <a:cubicBezTo>
                    <a:pt x="0" y="36"/>
                    <a:pt x="36" y="0"/>
                    <a:pt x="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POWER_USER_ID_ICONS_Advocacy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30" y="209"/>
              <a:ext cx="82" cy="8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POWER_USER_ID_ICONS_Advocacy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6" y="330"/>
              <a:ext cx="57" cy="123"/>
            </a:xfrm>
            <a:custGeom>
              <a:avLst/>
              <a:gdLst>
                <a:gd name="T0" fmla="*/ 150 w 150"/>
                <a:gd name="T1" fmla="*/ 327 h 327"/>
                <a:gd name="T2" fmla="*/ 22 w 150"/>
                <a:gd name="T3" fmla="*/ 327 h 327"/>
                <a:gd name="T4" fmla="*/ 22 w 150"/>
                <a:gd name="T5" fmla="*/ 94 h 327"/>
                <a:gd name="T6" fmla="*/ 0 w 150"/>
                <a:gd name="T7" fmla="*/ 5 h 327"/>
                <a:gd name="T8" fmla="*/ 33 w 150"/>
                <a:gd name="T9" fmla="*/ 0 h 327"/>
                <a:gd name="T10" fmla="*/ 150 w 150"/>
                <a:gd name="T11" fmla="*/ 117 h 327"/>
                <a:gd name="T12" fmla="*/ 150 w 150"/>
                <a:gd name="T13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50" y="327"/>
                  </a:moveTo>
                  <a:lnTo>
                    <a:pt x="22" y="327"/>
                  </a:lnTo>
                  <a:lnTo>
                    <a:pt x="22" y="94"/>
                  </a:lnTo>
                  <a:cubicBezTo>
                    <a:pt x="22" y="62"/>
                    <a:pt x="14" y="32"/>
                    <a:pt x="0" y="5"/>
                  </a:cubicBezTo>
                  <a:cubicBezTo>
                    <a:pt x="11" y="2"/>
                    <a:pt x="22" y="0"/>
                    <a:pt x="33" y="0"/>
                  </a:cubicBezTo>
                  <a:cubicBezTo>
                    <a:pt x="98" y="0"/>
                    <a:pt x="150" y="52"/>
                    <a:pt x="150" y="117"/>
                  </a:cubicBezTo>
                  <a:lnTo>
                    <a:pt x="1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POWER_USER_ID_ICONS_Advocacy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9" y="330"/>
              <a:ext cx="57" cy="123"/>
            </a:xfrm>
            <a:custGeom>
              <a:avLst/>
              <a:gdLst>
                <a:gd name="T0" fmla="*/ 128 w 150"/>
                <a:gd name="T1" fmla="*/ 94 h 327"/>
                <a:gd name="T2" fmla="*/ 128 w 150"/>
                <a:gd name="T3" fmla="*/ 327 h 327"/>
                <a:gd name="T4" fmla="*/ 0 w 150"/>
                <a:gd name="T5" fmla="*/ 327 h 327"/>
                <a:gd name="T6" fmla="*/ 0 w 150"/>
                <a:gd name="T7" fmla="*/ 117 h 327"/>
                <a:gd name="T8" fmla="*/ 117 w 150"/>
                <a:gd name="T9" fmla="*/ 0 h 327"/>
                <a:gd name="T10" fmla="*/ 150 w 150"/>
                <a:gd name="T11" fmla="*/ 5 h 327"/>
                <a:gd name="T12" fmla="*/ 128 w 150"/>
                <a:gd name="T13" fmla="*/ 9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28" y="94"/>
                  </a:moveTo>
                  <a:lnTo>
                    <a:pt x="128" y="327"/>
                  </a:lnTo>
                  <a:lnTo>
                    <a:pt x="0" y="327"/>
                  </a:lnTo>
                  <a:lnTo>
                    <a:pt x="0" y="117"/>
                  </a:lnTo>
                  <a:cubicBezTo>
                    <a:pt x="0" y="52"/>
                    <a:pt x="53" y="0"/>
                    <a:pt x="117" y="0"/>
                  </a:cubicBezTo>
                  <a:cubicBezTo>
                    <a:pt x="129" y="0"/>
                    <a:pt x="139" y="2"/>
                    <a:pt x="150" y="5"/>
                  </a:cubicBezTo>
                  <a:cubicBezTo>
                    <a:pt x="136" y="32"/>
                    <a:pt x="128" y="62"/>
                    <a:pt x="128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POWER_USER_ID_ICONS_Advocacy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07" y="301"/>
              <a:ext cx="128" cy="178"/>
            </a:xfrm>
            <a:custGeom>
              <a:avLst/>
              <a:gdLst>
                <a:gd name="T0" fmla="*/ 0 w 340"/>
                <a:gd name="T1" fmla="*/ 471 h 471"/>
                <a:gd name="T2" fmla="*/ 340 w 340"/>
                <a:gd name="T3" fmla="*/ 471 h 471"/>
                <a:gd name="T4" fmla="*/ 340 w 340"/>
                <a:gd name="T5" fmla="*/ 170 h 471"/>
                <a:gd name="T6" fmla="*/ 170 w 340"/>
                <a:gd name="T7" fmla="*/ 0 h 471"/>
                <a:gd name="T8" fmla="*/ 0 w 340"/>
                <a:gd name="T9" fmla="*/ 170 h 471"/>
                <a:gd name="T10" fmla="*/ 0 w 340"/>
                <a:gd name="T11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" h="471">
                  <a:moveTo>
                    <a:pt x="0" y="471"/>
                  </a:moveTo>
                  <a:lnTo>
                    <a:pt x="340" y="471"/>
                  </a:lnTo>
                  <a:lnTo>
                    <a:pt x="340" y="170"/>
                  </a:lnTo>
                  <a:cubicBezTo>
                    <a:pt x="340" y="76"/>
                    <a:pt x="264" y="0"/>
                    <a:pt x="170" y="0"/>
                  </a:cubicBezTo>
                  <a:cubicBezTo>
                    <a:pt x="76" y="0"/>
                    <a:pt x="0" y="76"/>
                    <a:pt x="0" y="170"/>
                  </a:cubicBezTo>
                  <a:lnTo>
                    <a:pt x="0" y="4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POWER_USER_ID_ICONS_Advocacy"/>
            <p:cNvSpPr>
              <a:spLocks noEditPoints="1"/>
            </p:cNvSpPr>
            <p:nvPr>
              <p:custDataLst>
                <p:tags r:id="rId27"/>
              </p:custDataLst>
            </p:nvPr>
          </p:nvSpPr>
          <p:spPr bwMode="auto">
            <a:xfrm>
              <a:off x="163" y="8"/>
              <a:ext cx="253" cy="230"/>
            </a:xfrm>
            <a:custGeom>
              <a:avLst/>
              <a:gdLst>
                <a:gd name="T0" fmla="*/ 551 w 675"/>
                <a:gd name="T1" fmla="*/ 0 h 611"/>
                <a:gd name="T2" fmla="*/ 123 w 675"/>
                <a:gd name="T3" fmla="*/ 0 h 611"/>
                <a:gd name="T4" fmla="*/ 0 w 675"/>
                <a:gd name="T5" fmla="*/ 123 h 611"/>
                <a:gd name="T6" fmla="*/ 0 w 675"/>
                <a:gd name="T7" fmla="*/ 326 h 611"/>
                <a:gd name="T8" fmla="*/ 123 w 675"/>
                <a:gd name="T9" fmla="*/ 449 h 611"/>
                <a:gd name="T10" fmla="*/ 167 w 675"/>
                <a:gd name="T11" fmla="*/ 449 h 611"/>
                <a:gd name="T12" fmla="*/ 167 w 675"/>
                <a:gd name="T13" fmla="*/ 611 h 611"/>
                <a:gd name="T14" fmla="*/ 329 w 675"/>
                <a:gd name="T15" fmla="*/ 449 h 611"/>
                <a:gd name="T16" fmla="*/ 551 w 675"/>
                <a:gd name="T17" fmla="*/ 449 h 611"/>
                <a:gd name="T18" fmla="*/ 675 w 675"/>
                <a:gd name="T19" fmla="*/ 326 h 611"/>
                <a:gd name="T20" fmla="*/ 675 w 675"/>
                <a:gd name="T21" fmla="*/ 123 h 611"/>
                <a:gd name="T22" fmla="*/ 551 w 675"/>
                <a:gd name="T23" fmla="*/ 0 h 611"/>
                <a:gd name="T24" fmla="*/ 630 w 675"/>
                <a:gd name="T25" fmla="*/ 326 h 611"/>
                <a:gd name="T26" fmla="*/ 551 w 675"/>
                <a:gd name="T27" fmla="*/ 405 h 611"/>
                <a:gd name="T28" fmla="*/ 311 w 675"/>
                <a:gd name="T29" fmla="*/ 405 h 611"/>
                <a:gd name="T30" fmla="*/ 212 w 675"/>
                <a:gd name="T31" fmla="*/ 504 h 611"/>
                <a:gd name="T32" fmla="*/ 212 w 675"/>
                <a:gd name="T33" fmla="*/ 405 h 611"/>
                <a:gd name="T34" fmla="*/ 123 w 675"/>
                <a:gd name="T35" fmla="*/ 405 h 611"/>
                <a:gd name="T36" fmla="*/ 44 w 675"/>
                <a:gd name="T37" fmla="*/ 326 h 611"/>
                <a:gd name="T38" fmla="*/ 44 w 675"/>
                <a:gd name="T39" fmla="*/ 123 h 611"/>
                <a:gd name="T40" fmla="*/ 123 w 675"/>
                <a:gd name="T41" fmla="*/ 44 h 611"/>
                <a:gd name="T42" fmla="*/ 551 w 675"/>
                <a:gd name="T43" fmla="*/ 44 h 611"/>
                <a:gd name="T44" fmla="*/ 630 w 675"/>
                <a:gd name="T45" fmla="*/ 123 h 611"/>
                <a:gd name="T46" fmla="*/ 630 w 675"/>
                <a:gd name="T47" fmla="*/ 32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5" h="611">
                  <a:moveTo>
                    <a:pt x="551" y="0"/>
                  </a:moveTo>
                  <a:lnTo>
                    <a:pt x="123" y="0"/>
                  </a:lnTo>
                  <a:cubicBezTo>
                    <a:pt x="55" y="0"/>
                    <a:pt x="0" y="55"/>
                    <a:pt x="0" y="123"/>
                  </a:cubicBezTo>
                  <a:lnTo>
                    <a:pt x="0" y="326"/>
                  </a:lnTo>
                  <a:cubicBezTo>
                    <a:pt x="0" y="394"/>
                    <a:pt x="55" y="449"/>
                    <a:pt x="123" y="449"/>
                  </a:cubicBezTo>
                  <a:lnTo>
                    <a:pt x="167" y="449"/>
                  </a:lnTo>
                  <a:lnTo>
                    <a:pt x="167" y="611"/>
                  </a:lnTo>
                  <a:lnTo>
                    <a:pt x="329" y="449"/>
                  </a:lnTo>
                  <a:lnTo>
                    <a:pt x="551" y="449"/>
                  </a:lnTo>
                  <a:cubicBezTo>
                    <a:pt x="619" y="449"/>
                    <a:pt x="675" y="394"/>
                    <a:pt x="675" y="326"/>
                  </a:cubicBezTo>
                  <a:lnTo>
                    <a:pt x="675" y="123"/>
                  </a:lnTo>
                  <a:cubicBezTo>
                    <a:pt x="675" y="55"/>
                    <a:pt x="619" y="0"/>
                    <a:pt x="551" y="0"/>
                  </a:cubicBezTo>
                  <a:close/>
                  <a:moveTo>
                    <a:pt x="630" y="326"/>
                  </a:moveTo>
                  <a:cubicBezTo>
                    <a:pt x="630" y="370"/>
                    <a:pt x="595" y="405"/>
                    <a:pt x="551" y="405"/>
                  </a:cubicBezTo>
                  <a:lnTo>
                    <a:pt x="311" y="405"/>
                  </a:lnTo>
                  <a:lnTo>
                    <a:pt x="212" y="504"/>
                  </a:lnTo>
                  <a:lnTo>
                    <a:pt x="212" y="405"/>
                  </a:lnTo>
                  <a:lnTo>
                    <a:pt x="123" y="405"/>
                  </a:lnTo>
                  <a:cubicBezTo>
                    <a:pt x="80" y="405"/>
                    <a:pt x="44" y="370"/>
                    <a:pt x="44" y="326"/>
                  </a:cubicBezTo>
                  <a:lnTo>
                    <a:pt x="44" y="123"/>
                  </a:lnTo>
                  <a:cubicBezTo>
                    <a:pt x="44" y="80"/>
                    <a:pt x="80" y="44"/>
                    <a:pt x="123" y="44"/>
                  </a:cubicBezTo>
                  <a:lnTo>
                    <a:pt x="551" y="44"/>
                  </a:lnTo>
                  <a:cubicBezTo>
                    <a:pt x="595" y="44"/>
                    <a:pt x="630" y="80"/>
                    <a:pt x="630" y="123"/>
                  </a:cubicBezTo>
                  <a:lnTo>
                    <a:pt x="630" y="3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3" name="POWER_USER_ID_ICONS_Governmen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36728" y="2177682"/>
            <a:ext cx="439341" cy="438150"/>
            <a:chOff x="35" y="39"/>
            <a:chExt cx="369" cy="368"/>
          </a:xfrm>
          <a:solidFill>
            <a:schemeClr val="accent2"/>
          </a:solidFill>
        </p:grpSpPr>
        <p:sp>
          <p:nvSpPr>
            <p:cNvPr id="34" name="POWER_USER_ID_ICONS_Government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35" y="134"/>
              <a:ext cx="369" cy="273"/>
            </a:xfrm>
            <a:custGeom>
              <a:avLst/>
              <a:gdLst>
                <a:gd name="T0" fmla="*/ 207 w 218"/>
                <a:gd name="T1" fmla="*/ 117 h 161"/>
                <a:gd name="T2" fmla="*/ 189 w 218"/>
                <a:gd name="T3" fmla="*/ 117 h 161"/>
                <a:gd name="T4" fmla="*/ 189 w 218"/>
                <a:gd name="T5" fmla="*/ 22 h 161"/>
                <a:gd name="T6" fmla="*/ 207 w 218"/>
                <a:gd name="T7" fmla="*/ 22 h 161"/>
                <a:gd name="T8" fmla="*/ 207 w 218"/>
                <a:gd name="T9" fmla="*/ 0 h 161"/>
                <a:gd name="T10" fmla="*/ 13 w 218"/>
                <a:gd name="T11" fmla="*/ 0 h 161"/>
                <a:gd name="T12" fmla="*/ 13 w 218"/>
                <a:gd name="T13" fmla="*/ 22 h 161"/>
                <a:gd name="T14" fmla="*/ 27 w 218"/>
                <a:gd name="T15" fmla="*/ 22 h 161"/>
                <a:gd name="T16" fmla="*/ 27 w 218"/>
                <a:gd name="T17" fmla="*/ 117 h 161"/>
                <a:gd name="T18" fmla="*/ 13 w 218"/>
                <a:gd name="T19" fmla="*/ 117 h 161"/>
                <a:gd name="T20" fmla="*/ 13 w 218"/>
                <a:gd name="T21" fmla="*/ 139 h 161"/>
                <a:gd name="T22" fmla="*/ 0 w 218"/>
                <a:gd name="T23" fmla="*/ 139 h 161"/>
                <a:gd name="T24" fmla="*/ 0 w 218"/>
                <a:gd name="T25" fmla="*/ 161 h 161"/>
                <a:gd name="T26" fmla="*/ 218 w 218"/>
                <a:gd name="T27" fmla="*/ 161 h 161"/>
                <a:gd name="T28" fmla="*/ 218 w 218"/>
                <a:gd name="T29" fmla="*/ 139 h 161"/>
                <a:gd name="T30" fmla="*/ 207 w 218"/>
                <a:gd name="T31" fmla="*/ 139 h 161"/>
                <a:gd name="T32" fmla="*/ 207 w 218"/>
                <a:gd name="T33" fmla="*/ 117 h 161"/>
                <a:gd name="T34" fmla="*/ 97 w 218"/>
                <a:gd name="T35" fmla="*/ 117 h 161"/>
                <a:gd name="T36" fmla="*/ 97 w 218"/>
                <a:gd name="T37" fmla="*/ 22 h 161"/>
                <a:gd name="T38" fmla="*/ 120 w 218"/>
                <a:gd name="T39" fmla="*/ 22 h 161"/>
                <a:gd name="T40" fmla="*/ 120 w 218"/>
                <a:gd name="T41" fmla="*/ 117 h 161"/>
                <a:gd name="T42" fmla="*/ 97 w 218"/>
                <a:gd name="T43" fmla="*/ 117 h 161"/>
                <a:gd name="T44" fmla="*/ 167 w 218"/>
                <a:gd name="T45" fmla="*/ 117 h 161"/>
                <a:gd name="T46" fmla="*/ 143 w 218"/>
                <a:gd name="T47" fmla="*/ 117 h 161"/>
                <a:gd name="T48" fmla="*/ 143 w 218"/>
                <a:gd name="T49" fmla="*/ 22 h 161"/>
                <a:gd name="T50" fmla="*/ 167 w 218"/>
                <a:gd name="T51" fmla="*/ 22 h 161"/>
                <a:gd name="T52" fmla="*/ 167 w 218"/>
                <a:gd name="T53" fmla="*/ 117 h 161"/>
                <a:gd name="T54" fmla="*/ 49 w 218"/>
                <a:gd name="T55" fmla="*/ 22 h 161"/>
                <a:gd name="T56" fmla="*/ 73 w 218"/>
                <a:gd name="T57" fmla="*/ 22 h 161"/>
                <a:gd name="T58" fmla="*/ 73 w 218"/>
                <a:gd name="T59" fmla="*/ 117 h 161"/>
                <a:gd name="T60" fmla="*/ 49 w 218"/>
                <a:gd name="T61" fmla="*/ 117 h 161"/>
                <a:gd name="T62" fmla="*/ 49 w 218"/>
                <a:gd name="T63" fmla="*/ 2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8" h="161">
                  <a:moveTo>
                    <a:pt x="207" y="117"/>
                  </a:moveTo>
                  <a:lnTo>
                    <a:pt x="189" y="117"/>
                  </a:lnTo>
                  <a:lnTo>
                    <a:pt x="189" y="22"/>
                  </a:lnTo>
                  <a:lnTo>
                    <a:pt x="207" y="22"/>
                  </a:lnTo>
                  <a:lnTo>
                    <a:pt x="207" y="0"/>
                  </a:lnTo>
                  <a:lnTo>
                    <a:pt x="13" y="0"/>
                  </a:lnTo>
                  <a:lnTo>
                    <a:pt x="13" y="22"/>
                  </a:lnTo>
                  <a:lnTo>
                    <a:pt x="27" y="22"/>
                  </a:lnTo>
                  <a:lnTo>
                    <a:pt x="27" y="117"/>
                  </a:lnTo>
                  <a:lnTo>
                    <a:pt x="13" y="117"/>
                  </a:lnTo>
                  <a:lnTo>
                    <a:pt x="13" y="139"/>
                  </a:lnTo>
                  <a:lnTo>
                    <a:pt x="0" y="139"/>
                  </a:lnTo>
                  <a:lnTo>
                    <a:pt x="0" y="161"/>
                  </a:lnTo>
                  <a:lnTo>
                    <a:pt x="218" y="161"/>
                  </a:lnTo>
                  <a:lnTo>
                    <a:pt x="218" y="139"/>
                  </a:lnTo>
                  <a:lnTo>
                    <a:pt x="207" y="139"/>
                  </a:lnTo>
                  <a:lnTo>
                    <a:pt x="207" y="117"/>
                  </a:lnTo>
                  <a:close/>
                  <a:moveTo>
                    <a:pt x="97" y="117"/>
                  </a:moveTo>
                  <a:lnTo>
                    <a:pt x="97" y="22"/>
                  </a:lnTo>
                  <a:lnTo>
                    <a:pt x="120" y="22"/>
                  </a:lnTo>
                  <a:lnTo>
                    <a:pt x="120" y="117"/>
                  </a:lnTo>
                  <a:lnTo>
                    <a:pt x="97" y="117"/>
                  </a:lnTo>
                  <a:close/>
                  <a:moveTo>
                    <a:pt x="167" y="117"/>
                  </a:moveTo>
                  <a:lnTo>
                    <a:pt x="143" y="117"/>
                  </a:lnTo>
                  <a:lnTo>
                    <a:pt x="143" y="22"/>
                  </a:lnTo>
                  <a:lnTo>
                    <a:pt x="167" y="22"/>
                  </a:lnTo>
                  <a:lnTo>
                    <a:pt x="167" y="117"/>
                  </a:lnTo>
                  <a:close/>
                  <a:moveTo>
                    <a:pt x="49" y="22"/>
                  </a:moveTo>
                  <a:lnTo>
                    <a:pt x="73" y="22"/>
                  </a:lnTo>
                  <a:lnTo>
                    <a:pt x="73" y="117"/>
                  </a:lnTo>
                  <a:lnTo>
                    <a:pt x="49" y="117"/>
                  </a:lnTo>
                  <a:lnTo>
                    <a:pt x="49" y="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POWER_USER_ID_ICONS_Government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5" y="39"/>
              <a:ext cx="369" cy="84"/>
            </a:xfrm>
            <a:custGeom>
              <a:avLst/>
              <a:gdLst>
                <a:gd name="T0" fmla="*/ 218 w 218"/>
                <a:gd name="T1" fmla="*/ 27 h 50"/>
                <a:gd name="T2" fmla="*/ 218 w 218"/>
                <a:gd name="T3" fmla="*/ 27 h 50"/>
                <a:gd name="T4" fmla="*/ 218 w 218"/>
                <a:gd name="T5" fmla="*/ 27 h 50"/>
                <a:gd name="T6" fmla="*/ 218 w 218"/>
                <a:gd name="T7" fmla="*/ 27 h 50"/>
                <a:gd name="T8" fmla="*/ 109 w 218"/>
                <a:gd name="T9" fmla="*/ 0 h 50"/>
                <a:gd name="T10" fmla="*/ 0 w 218"/>
                <a:gd name="T11" fmla="*/ 27 h 50"/>
                <a:gd name="T12" fmla="*/ 0 w 218"/>
                <a:gd name="T13" fmla="*/ 27 h 50"/>
                <a:gd name="T14" fmla="*/ 0 w 218"/>
                <a:gd name="T15" fmla="*/ 27 h 50"/>
                <a:gd name="T16" fmla="*/ 0 w 218"/>
                <a:gd name="T17" fmla="*/ 27 h 50"/>
                <a:gd name="T18" fmla="*/ 0 w 218"/>
                <a:gd name="T19" fmla="*/ 27 h 50"/>
                <a:gd name="T20" fmla="*/ 0 w 218"/>
                <a:gd name="T21" fmla="*/ 50 h 50"/>
                <a:gd name="T22" fmla="*/ 218 w 218"/>
                <a:gd name="T23" fmla="*/ 50 h 50"/>
                <a:gd name="T24" fmla="*/ 218 w 218"/>
                <a:gd name="T2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8" h="50">
                  <a:moveTo>
                    <a:pt x="218" y="27"/>
                  </a:move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109" y="0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50"/>
                  </a:lnTo>
                  <a:lnTo>
                    <a:pt x="218" y="50"/>
                  </a:lnTo>
                  <a:lnTo>
                    <a:pt x="218" y="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6" name="POWER_USER_ID_ICONS_Earth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4351246" y="1430464"/>
            <a:ext cx="378388" cy="378388"/>
            <a:chOff x="31" y="32"/>
            <a:chExt cx="423" cy="423"/>
          </a:xfrm>
          <a:solidFill>
            <a:schemeClr val="accent3"/>
          </a:solidFill>
        </p:grpSpPr>
        <p:sp>
          <p:nvSpPr>
            <p:cNvPr id="37" name="POWER_USER_ID_ICONS_Earth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55" y="163"/>
              <a:ext cx="33" cy="20"/>
            </a:xfrm>
            <a:custGeom>
              <a:avLst/>
              <a:gdLst>
                <a:gd name="T0" fmla="*/ 9 w 88"/>
                <a:gd name="T1" fmla="*/ 53 h 55"/>
                <a:gd name="T2" fmla="*/ 48 w 88"/>
                <a:gd name="T3" fmla="*/ 47 h 55"/>
                <a:gd name="T4" fmla="*/ 77 w 88"/>
                <a:gd name="T5" fmla="*/ 55 h 55"/>
                <a:gd name="T6" fmla="*/ 88 w 88"/>
                <a:gd name="T7" fmla="*/ 35 h 55"/>
                <a:gd name="T8" fmla="*/ 20 w 88"/>
                <a:gd name="T9" fmla="*/ 0 h 55"/>
                <a:gd name="T10" fmla="*/ 0 w 88"/>
                <a:gd name="T11" fmla="*/ 37 h 55"/>
                <a:gd name="T12" fmla="*/ 9 w 88"/>
                <a:gd name="T1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55">
                  <a:moveTo>
                    <a:pt x="9" y="53"/>
                  </a:moveTo>
                  <a:lnTo>
                    <a:pt x="48" y="47"/>
                  </a:lnTo>
                  <a:lnTo>
                    <a:pt x="77" y="55"/>
                  </a:lnTo>
                  <a:lnTo>
                    <a:pt x="88" y="35"/>
                  </a:lnTo>
                  <a:lnTo>
                    <a:pt x="20" y="0"/>
                  </a:lnTo>
                  <a:lnTo>
                    <a:pt x="0" y="37"/>
                  </a:lnTo>
                  <a:lnTo>
                    <a:pt x="9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POWER_USER_ID_ICONS_Earth2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31" y="32"/>
              <a:ext cx="423" cy="423"/>
            </a:xfrm>
            <a:custGeom>
              <a:avLst/>
              <a:gdLst>
                <a:gd name="T0" fmla="*/ 761 w 1126"/>
                <a:gd name="T1" fmla="*/ 35 h 1125"/>
                <a:gd name="T2" fmla="*/ 719 w 1126"/>
                <a:gd name="T3" fmla="*/ 21 h 1125"/>
                <a:gd name="T4" fmla="*/ 656 w 1126"/>
                <a:gd name="T5" fmla="*/ 7 h 1125"/>
                <a:gd name="T6" fmla="*/ 608 w 1126"/>
                <a:gd name="T7" fmla="*/ 1 h 1125"/>
                <a:gd name="T8" fmla="*/ 544 w 1126"/>
                <a:gd name="T9" fmla="*/ 0 h 1125"/>
                <a:gd name="T10" fmla="*/ 506 w 1126"/>
                <a:gd name="T11" fmla="*/ 2 h 1125"/>
                <a:gd name="T12" fmla="*/ 469 w 1126"/>
                <a:gd name="T13" fmla="*/ 7 h 1125"/>
                <a:gd name="T14" fmla="*/ 437 w 1126"/>
                <a:gd name="T15" fmla="*/ 14 h 1125"/>
                <a:gd name="T16" fmla="*/ 400 w 1126"/>
                <a:gd name="T17" fmla="*/ 24 h 1125"/>
                <a:gd name="T18" fmla="*/ 371 w 1126"/>
                <a:gd name="T19" fmla="*/ 33 h 1125"/>
                <a:gd name="T20" fmla="*/ 334 w 1126"/>
                <a:gd name="T21" fmla="*/ 48 h 1125"/>
                <a:gd name="T22" fmla="*/ 308 w 1126"/>
                <a:gd name="T23" fmla="*/ 60 h 1125"/>
                <a:gd name="T24" fmla="*/ 273 w 1126"/>
                <a:gd name="T25" fmla="*/ 80 h 1125"/>
                <a:gd name="T26" fmla="*/ 250 w 1126"/>
                <a:gd name="T27" fmla="*/ 94 h 1125"/>
                <a:gd name="T28" fmla="*/ 218 w 1126"/>
                <a:gd name="T29" fmla="*/ 118 h 1125"/>
                <a:gd name="T30" fmla="*/ 197 w 1126"/>
                <a:gd name="T31" fmla="*/ 135 h 1125"/>
                <a:gd name="T32" fmla="*/ 167 w 1126"/>
                <a:gd name="T33" fmla="*/ 162 h 1125"/>
                <a:gd name="T34" fmla="*/ 48 w 1126"/>
                <a:gd name="T35" fmla="*/ 335 h 1125"/>
                <a:gd name="T36" fmla="*/ 35 w 1126"/>
                <a:gd name="T37" fmla="*/ 367 h 1125"/>
                <a:gd name="T38" fmla="*/ 17 w 1126"/>
                <a:gd name="T39" fmla="*/ 426 h 1125"/>
                <a:gd name="T40" fmla="*/ 9 w 1126"/>
                <a:gd name="T41" fmla="*/ 462 h 1125"/>
                <a:gd name="T42" fmla="*/ 3 w 1126"/>
                <a:gd name="T43" fmla="*/ 508 h 1125"/>
                <a:gd name="T44" fmla="*/ 1 w 1126"/>
                <a:gd name="T45" fmla="*/ 546 h 1125"/>
                <a:gd name="T46" fmla="*/ 1013 w 1126"/>
                <a:gd name="T47" fmla="*/ 344 h 1125"/>
                <a:gd name="T48" fmla="*/ 1015 w 1126"/>
                <a:gd name="T49" fmla="*/ 387 h 1125"/>
                <a:gd name="T50" fmla="*/ 1020 w 1126"/>
                <a:gd name="T51" fmla="*/ 494 h 1125"/>
                <a:gd name="T52" fmla="*/ 1062 w 1126"/>
                <a:gd name="T53" fmla="*/ 532 h 1125"/>
                <a:gd name="T54" fmla="*/ 953 w 1126"/>
                <a:gd name="T55" fmla="*/ 613 h 1125"/>
                <a:gd name="T56" fmla="*/ 916 w 1126"/>
                <a:gd name="T57" fmla="*/ 784 h 1125"/>
                <a:gd name="T58" fmla="*/ 745 w 1126"/>
                <a:gd name="T59" fmla="*/ 639 h 1125"/>
                <a:gd name="T60" fmla="*/ 758 w 1126"/>
                <a:gd name="T61" fmla="*/ 423 h 1125"/>
                <a:gd name="T62" fmla="*/ 903 w 1126"/>
                <a:gd name="T63" fmla="*/ 462 h 1125"/>
                <a:gd name="T64" fmla="*/ 832 w 1126"/>
                <a:gd name="T65" fmla="*/ 431 h 1125"/>
                <a:gd name="T66" fmla="*/ 773 w 1126"/>
                <a:gd name="T67" fmla="*/ 378 h 1125"/>
                <a:gd name="T68" fmla="*/ 709 w 1126"/>
                <a:gd name="T69" fmla="*/ 388 h 1125"/>
                <a:gd name="T70" fmla="*/ 674 w 1126"/>
                <a:gd name="T71" fmla="*/ 349 h 1125"/>
                <a:gd name="T72" fmla="*/ 741 w 1126"/>
                <a:gd name="T73" fmla="*/ 266 h 1125"/>
                <a:gd name="T74" fmla="*/ 846 w 1126"/>
                <a:gd name="T75" fmla="*/ 248 h 1125"/>
                <a:gd name="T76" fmla="*/ 824 w 1126"/>
                <a:gd name="T77" fmla="*/ 186 h 1125"/>
                <a:gd name="T78" fmla="*/ 838 w 1126"/>
                <a:gd name="T79" fmla="*/ 145 h 1125"/>
                <a:gd name="T80" fmla="*/ 999 w 1126"/>
                <a:gd name="T81" fmla="*/ 765 h 1125"/>
                <a:gd name="T82" fmla="*/ 524 w 1126"/>
                <a:gd name="T83" fmla="*/ 177 h 1125"/>
                <a:gd name="T84" fmla="*/ 393 w 1126"/>
                <a:gd name="T85" fmla="*/ 92 h 1125"/>
                <a:gd name="T86" fmla="*/ 812 w 1126"/>
                <a:gd name="T87" fmla="*/ 161 h 1125"/>
                <a:gd name="T88" fmla="*/ 761 w 1126"/>
                <a:gd name="T89" fmla="*/ 219 h 1125"/>
                <a:gd name="T90" fmla="*/ 765 w 1126"/>
                <a:gd name="T91" fmla="*/ 120 h 1125"/>
                <a:gd name="T92" fmla="*/ 631 w 1126"/>
                <a:gd name="T93" fmla="*/ 220 h 1125"/>
                <a:gd name="T94" fmla="*/ 696 w 1126"/>
                <a:gd name="T95" fmla="*/ 246 h 1125"/>
                <a:gd name="T96" fmla="*/ 316 w 1126"/>
                <a:gd name="T97" fmla="*/ 146 h 1125"/>
                <a:gd name="T98" fmla="*/ 316 w 1126"/>
                <a:gd name="T99" fmla="*/ 331 h 1125"/>
                <a:gd name="T100" fmla="*/ 446 w 1126"/>
                <a:gd name="T101" fmla="*/ 382 h 1125"/>
                <a:gd name="T102" fmla="*/ 281 w 1126"/>
                <a:gd name="T103" fmla="*/ 519 h 1125"/>
                <a:gd name="T104" fmla="*/ 238 w 1126"/>
                <a:gd name="T105" fmla="*/ 537 h 1125"/>
                <a:gd name="T106" fmla="*/ 297 w 1126"/>
                <a:gd name="T107" fmla="*/ 606 h 1125"/>
                <a:gd name="T108" fmla="*/ 526 w 1126"/>
                <a:gd name="T109" fmla="*/ 703 h 1125"/>
                <a:gd name="T110" fmla="*/ 316 w 1126"/>
                <a:gd name="T111" fmla="*/ 971 h 1125"/>
                <a:gd name="T112" fmla="*/ 328 w 1126"/>
                <a:gd name="T113" fmla="*/ 758 h 1125"/>
                <a:gd name="T114" fmla="*/ 244 w 1126"/>
                <a:gd name="T115" fmla="*/ 580 h 1125"/>
                <a:gd name="T116" fmla="*/ 86 w 1126"/>
                <a:gd name="T117" fmla="*/ 411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6" h="1125">
                  <a:moveTo>
                    <a:pt x="839" y="72"/>
                  </a:moveTo>
                  <a:cubicBezTo>
                    <a:pt x="839" y="72"/>
                    <a:pt x="839" y="72"/>
                    <a:pt x="839" y="72"/>
                  </a:cubicBezTo>
                  <a:cubicBezTo>
                    <a:pt x="826" y="65"/>
                    <a:pt x="814" y="58"/>
                    <a:pt x="801" y="52"/>
                  </a:cubicBezTo>
                  <a:cubicBezTo>
                    <a:pt x="801" y="52"/>
                    <a:pt x="800" y="52"/>
                    <a:pt x="800" y="52"/>
                  </a:cubicBezTo>
                  <a:cubicBezTo>
                    <a:pt x="787" y="46"/>
                    <a:pt x="774" y="40"/>
                    <a:pt x="761" y="35"/>
                  </a:cubicBezTo>
                  <a:cubicBezTo>
                    <a:pt x="761" y="35"/>
                    <a:pt x="760" y="35"/>
                    <a:pt x="760" y="35"/>
                  </a:cubicBezTo>
                  <a:cubicBezTo>
                    <a:pt x="753" y="32"/>
                    <a:pt x="747" y="30"/>
                    <a:pt x="740" y="28"/>
                  </a:cubicBezTo>
                  <a:cubicBezTo>
                    <a:pt x="740" y="28"/>
                    <a:pt x="739" y="28"/>
                    <a:pt x="738" y="27"/>
                  </a:cubicBezTo>
                  <a:cubicBezTo>
                    <a:pt x="732" y="25"/>
                    <a:pt x="725" y="23"/>
                    <a:pt x="719" y="21"/>
                  </a:cubicBezTo>
                  <a:cubicBezTo>
                    <a:pt x="719" y="21"/>
                    <a:pt x="719" y="21"/>
                    <a:pt x="719" y="21"/>
                  </a:cubicBezTo>
                  <a:cubicBezTo>
                    <a:pt x="712" y="19"/>
                    <a:pt x="705" y="18"/>
                    <a:pt x="699" y="16"/>
                  </a:cubicBezTo>
                  <a:cubicBezTo>
                    <a:pt x="698" y="16"/>
                    <a:pt x="697" y="15"/>
                    <a:pt x="696" y="15"/>
                  </a:cubicBezTo>
                  <a:cubicBezTo>
                    <a:pt x="689" y="14"/>
                    <a:pt x="682" y="12"/>
                    <a:pt x="676" y="11"/>
                  </a:cubicBezTo>
                  <a:lnTo>
                    <a:pt x="675" y="11"/>
                  </a:lnTo>
                  <a:cubicBezTo>
                    <a:pt x="669" y="9"/>
                    <a:pt x="662" y="8"/>
                    <a:pt x="656" y="7"/>
                  </a:cubicBezTo>
                  <a:cubicBezTo>
                    <a:pt x="654" y="7"/>
                    <a:pt x="653" y="7"/>
                    <a:pt x="652" y="7"/>
                  </a:cubicBezTo>
                  <a:cubicBezTo>
                    <a:pt x="646" y="5"/>
                    <a:pt x="639" y="5"/>
                    <a:pt x="632" y="4"/>
                  </a:cubicBezTo>
                  <a:cubicBezTo>
                    <a:pt x="631" y="4"/>
                    <a:pt x="630" y="3"/>
                    <a:pt x="629" y="3"/>
                  </a:cubicBezTo>
                  <a:cubicBezTo>
                    <a:pt x="623" y="3"/>
                    <a:pt x="617" y="2"/>
                    <a:pt x="611" y="2"/>
                  </a:cubicBezTo>
                  <a:cubicBezTo>
                    <a:pt x="610" y="1"/>
                    <a:pt x="609" y="1"/>
                    <a:pt x="608" y="1"/>
                  </a:cubicBezTo>
                  <a:cubicBezTo>
                    <a:pt x="601" y="1"/>
                    <a:pt x="595" y="0"/>
                    <a:pt x="588" y="0"/>
                  </a:cubicBezTo>
                  <a:cubicBezTo>
                    <a:pt x="586" y="0"/>
                    <a:pt x="585" y="0"/>
                    <a:pt x="583" y="0"/>
                  </a:cubicBezTo>
                  <a:cubicBezTo>
                    <a:pt x="577" y="0"/>
                    <a:pt x="570" y="0"/>
                    <a:pt x="563" y="0"/>
                  </a:cubicBezTo>
                  <a:cubicBezTo>
                    <a:pt x="558" y="0"/>
                    <a:pt x="553" y="0"/>
                    <a:pt x="548" y="0"/>
                  </a:cubicBezTo>
                  <a:cubicBezTo>
                    <a:pt x="547" y="0"/>
                    <a:pt x="546" y="0"/>
                    <a:pt x="544" y="0"/>
                  </a:cubicBezTo>
                  <a:cubicBezTo>
                    <a:pt x="541" y="0"/>
                    <a:pt x="538" y="0"/>
                    <a:pt x="534" y="0"/>
                  </a:cubicBezTo>
                  <a:cubicBezTo>
                    <a:pt x="532" y="0"/>
                    <a:pt x="530" y="0"/>
                    <a:pt x="528" y="1"/>
                  </a:cubicBezTo>
                  <a:cubicBezTo>
                    <a:pt x="525" y="1"/>
                    <a:pt x="522" y="1"/>
                    <a:pt x="520" y="1"/>
                  </a:cubicBezTo>
                  <a:cubicBezTo>
                    <a:pt x="517" y="1"/>
                    <a:pt x="515" y="2"/>
                    <a:pt x="513" y="2"/>
                  </a:cubicBezTo>
                  <a:cubicBezTo>
                    <a:pt x="511" y="2"/>
                    <a:pt x="508" y="2"/>
                    <a:pt x="506" y="2"/>
                  </a:cubicBezTo>
                  <a:cubicBezTo>
                    <a:pt x="503" y="3"/>
                    <a:pt x="501" y="3"/>
                    <a:pt x="498" y="3"/>
                  </a:cubicBezTo>
                  <a:cubicBezTo>
                    <a:pt x="496" y="4"/>
                    <a:pt x="494" y="4"/>
                    <a:pt x="492" y="4"/>
                  </a:cubicBezTo>
                  <a:cubicBezTo>
                    <a:pt x="489" y="4"/>
                    <a:pt x="486" y="5"/>
                    <a:pt x="483" y="5"/>
                  </a:cubicBezTo>
                  <a:cubicBezTo>
                    <a:pt x="481" y="5"/>
                    <a:pt x="480" y="6"/>
                    <a:pt x="478" y="6"/>
                  </a:cubicBezTo>
                  <a:cubicBezTo>
                    <a:pt x="475" y="6"/>
                    <a:pt x="472" y="7"/>
                    <a:pt x="469" y="7"/>
                  </a:cubicBezTo>
                  <a:cubicBezTo>
                    <a:pt x="467" y="8"/>
                    <a:pt x="465" y="8"/>
                    <a:pt x="464" y="8"/>
                  </a:cubicBezTo>
                  <a:cubicBezTo>
                    <a:pt x="461" y="9"/>
                    <a:pt x="458" y="9"/>
                    <a:pt x="455" y="10"/>
                  </a:cubicBezTo>
                  <a:cubicBezTo>
                    <a:pt x="453" y="10"/>
                    <a:pt x="452" y="10"/>
                    <a:pt x="450" y="11"/>
                  </a:cubicBezTo>
                  <a:cubicBezTo>
                    <a:pt x="447" y="11"/>
                    <a:pt x="444" y="12"/>
                    <a:pt x="441" y="13"/>
                  </a:cubicBezTo>
                  <a:cubicBezTo>
                    <a:pt x="439" y="13"/>
                    <a:pt x="438" y="13"/>
                    <a:pt x="437" y="14"/>
                  </a:cubicBezTo>
                  <a:cubicBezTo>
                    <a:pt x="433" y="15"/>
                    <a:pt x="430" y="15"/>
                    <a:pt x="427" y="16"/>
                  </a:cubicBezTo>
                  <a:cubicBezTo>
                    <a:pt x="426" y="16"/>
                    <a:pt x="424" y="17"/>
                    <a:pt x="423" y="17"/>
                  </a:cubicBezTo>
                  <a:cubicBezTo>
                    <a:pt x="420" y="18"/>
                    <a:pt x="417" y="19"/>
                    <a:pt x="413" y="20"/>
                  </a:cubicBezTo>
                  <a:cubicBezTo>
                    <a:pt x="412" y="20"/>
                    <a:pt x="411" y="20"/>
                    <a:pt x="410" y="21"/>
                  </a:cubicBezTo>
                  <a:cubicBezTo>
                    <a:pt x="406" y="22"/>
                    <a:pt x="403" y="23"/>
                    <a:pt x="400" y="24"/>
                  </a:cubicBezTo>
                  <a:cubicBezTo>
                    <a:pt x="399" y="24"/>
                    <a:pt x="398" y="24"/>
                    <a:pt x="397" y="25"/>
                  </a:cubicBezTo>
                  <a:cubicBezTo>
                    <a:pt x="393" y="26"/>
                    <a:pt x="390" y="27"/>
                    <a:pt x="386" y="28"/>
                  </a:cubicBezTo>
                  <a:cubicBezTo>
                    <a:pt x="385" y="28"/>
                    <a:pt x="384" y="28"/>
                    <a:pt x="383" y="29"/>
                  </a:cubicBezTo>
                  <a:cubicBezTo>
                    <a:pt x="380" y="30"/>
                    <a:pt x="376" y="31"/>
                    <a:pt x="373" y="32"/>
                  </a:cubicBezTo>
                  <a:cubicBezTo>
                    <a:pt x="372" y="33"/>
                    <a:pt x="371" y="33"/>
                    <a:pt x="371" y="33"/>
                  </a:cubicBezTo>
                  <a:cubicBezTo>
                    <a:pt x="367" y="35"/>
                    <a:pt x="363" y="36"/>
                    <a:pt x="360" y="37"/>
                  </a:cubicBezTo>
                  <a:cubicBezTo>
                    <a:pt x="359" y="38"/>
                    <a:pt x="359" y="38"/>
                    <a:pt x="358" y="38"/>
                  </a:cubicBezTo>
                  <a:cubicBezTo>
                    <a:pt x="354" y="40"/>
                    <a:pt x="351" y="41"/>
                    <a:pt x="347" y="42"/>
                  </a:cubicBezTo>
                  <a:cubicBezTo>
                    <a:pt x="346" y="43"/>
                    <a:pt x="346" y="43"/>
                    <a:pt x="345" y="43"/>
                  </a:cubicBezTo>
                  <a:cubicBezTo>
                    <a:pt x="342" y="45"/>
                    <a:pt x="338" y="46"/>
                    <a:pt x="334" y="48"/>
                  </a:cubicBezTo>
                  <a:cubicBezTo>
                    <a:pt x="334" y="48"/>
                    <a:pt x="333" y="48"/>
                    <a:pt x="333" y="49"/>
                  </a:cubicBezTo>
                  <a:cubicBezTo>
                    <a:pt x="329" y="50"/>
                    <a:pt x="325" y="52"/>
                    <a:pt x="322" y="54"/>
                  </a:cubicBezTo>
                  <a:cubicBezTo>
                    <a:pt x="321" y="54"/>
                    <a:pt x="321" y="54"/>
                    <a:pt x="320" y="54"/>
                  </a:cubicBezTo>
                  <a:cubicBezTo>
                    <a:pt x="317" y="56"/>
                    <a:pt x="313" y="58"/>
                    <a:pt x="309" y="60"/>
                  </a:cubicBezTo>
                  <a:cubicBezTo>
                    <a:pt x="309" y="60"/>
                    <a:pt x="309" y="60"/>
                    <a:pt x="308" y="60"/>
                  </a:cubicBezTo>
                  <a:cubicBezTo>
                    <a:pt x="305" y="62"/>
                    <a:pt x="301" y="64"/>
                    <a:pt x="297" y="66"/>
                  </a:cubicBezTo>
                  <a:cubicBezTo>
                    <a:pt x="297" y="66"/>
                    <a:pt x="297" y="67"/>
                    <a:pt x="296" y="67"/>
                  </a:cubicBezTo>
                  <a:cubicBezTo>
                    <a:pt x="293" y="69"/>
                    <a:pt x="289" y="71"/>
                    <a:pt x="285" y="73"/>
                  </a:cubicBezTo>
                  <a:cubicBezTo>
                    <a:pt x="285" y="73"/>
                    <a:pt x="285" y="73"/>
                    <a:pt x="285" y="73"/>
                  </a:cubicBezTo>
                  <a:cubicBezTo>
                    <a:pt x="281" y="75"/>
                    <a:pt x="277" y="77"/>
                    <a:pt x="273" y="80"/>
                  </a:cubicBezTo>
                  <a:lnTo>
                    <a:pt x="273" y="80"/>
                  </a:lnTo>
                  <a:cubicBezTo>
                    <a:pt x="269" y="82"/>
                    <a:pt x="266" y="85"/>
                    <a:pt x="262" y="87"/>
                  </a:cubicBezTo>
                  <a:lnTo>
                    <a:pt x="262" y="87"/>
                  </a:lnTo>
                  <a:cubicBezTo>
                    <a:pt x="258" y="89"/>
                    <a:pt x="254" y="92"/>
                    <a:pt x="251" y="94"/>
                  </a:cubicBezTo>
                  <a:cubicBezTo>
                    <a:pt x="250" y="94"/>
                    <a:pt x="250" y="94"/>
                    <a:pt x="250" y="94"/>
                  </a:cubicBezTo>
                  <a:cubicBezTo>
                    <a:pt x="247" y="97"/>
                    <a:pt x="243" y="99"/>
                    <a:pt x="239" y="102"/>
                  </a:cubicBezTo>
                  <a:lnTo>
                    <a:pt x="239" y="102"/>
                  </a:lnTo>
                  <a:cubicBezTo>
                    <a:pt x="236" y="105"/>
                    <a:pt x="232" y="107"/>
                    <a:pt x="228" y="110"/>
                  </a:cubicBezTo>
                  <a:lnTo>
                    <a:pt x="228" y="110"/>
                  </a:lnTo>
                  <a:cubicBezTo>
                    <a:pt x="225" y="113"/>
                    <a:pt x="221" y="115"/>
                    <a:pt x="218" y="118"/>
                  </a:cubicBezTo>
                  <a:lnTo>
                    <a:pt x="218" y="118"/>
                  </a:lnTo>
                  <a:cubicBezTo>
                    <a:pt x="214" y="121"/>
                    <a:pt x="211" y="124"/>
                    <a:pt x="207" y="126"/>
                  </a:cubicBezTo>
                  <a:lnTo>
                    <a:pt x="207" y="126"/>
                  </a:lnTo>
                  <a:cubicBezTo>
                    <a:pt x="204" y="129"/>
                    <a:pt x="200" y="132"/>
                    <a:pt x="197" y="135"/>
                  </a:cubicBezTo>
                  <a:lnTo>
                    <a:pt x="197" y="135"/>
                  </a:lnTo>
                  <a:cubicBezTo>
                    <a:pt x="193" y="138"/>
                    <a:pt x="190" y="141"/>
                    <a:pt x="187" y="144"/>
                  </a:cubicBezTo>
                  <a:lnTo>
                    <a:pt x="187" y="144"/>
                  </a:lnTo>
                  <a:cubicBezTo>
                    <a:pt x="184" y="147"/>
                    <a:pt x="180" y="150"/>
                    <a:pt x="177" y="153"/>
                  </a:cubicBezTo>
                  <a:lnTo>
                    <a:pt x="177" y="153"/>
                  </a:lnTo>
                  <a:cubicBezTo>
                    <a:pt x="174" y="156"/>
                    <a:pt x="171" y="159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lnTo>
                    <a:pt x="167" y="162"/>
                  </a:lnTo>
                  <a:cubicBezTo>
                    <a:pt x="121" y="208"/>
                    <a:pt x="83" y="261"/>
                    <a:pt x="55" y="321"/>
                  </a:cubicBezTo>
                  <a:cubicBezTo>
                    <a:pt x="54" y="322"/>
                    <a:pt x="54" y="323"/>
                    <a:pt x="53" y="324"/>
                  </a:cubicBezTo>
                  <a:cubicBezTo>
                    <a:pt x="52" y="327"/>
                    <a:pt x="50" y="331"/>
                    <a:pt x="48" y="335"/>
                  </a:cubicBezTo>
                  <a:cubicBezTo>
                    <a:pt x="48" y="336"/>
                    <a:pt x="47" y="337"/>
                    <a:pt x="47" y="338"/>
                  </a:cubicBezTo>
                  <a:cubicBezTo>
                    <a:pt x="45" y="342"/>
                    <a:pt x="44" y="345"/>
                    <a:pt x="42" y="349"/>
                  </a:cubicBezTo>
                  <a:cubicBezTo>
                    <a:pt x="42" y="350"/>
                    <a:pt x="41" y="351"/>
                    <a:pt x="41" y="353"/>
                  </a:cubicBezTo>
                  <a:cubicBezTo>
                    <a:pt x="39" y="356"/>
                    <a:pt x="38" y="360"/>
                    <a:pt x="36" y="364"/>
                  </a:cubicBezTo>
                  <a:cubicBezTo>
                    <a:pt x="36" y="365"/>
                    <a:pt x="36" y="366"/>
                    <a:pt x="35" y="367"/>
                  </a:cubicBezTo>
                  <a:cubicBezTo>
                    <a:pt x="32" y="377"/>
                    <a:pt x="28" y="386"/>
                    <a:pt x="25" y="396"/>
                  </a:cubicBezTo>
                  <a:cubicBezTo>
                    <a:pt x="25" y="397"/>
                    <a:pt x="25" y="399"/>
                    <a:pt x="24" y="400"/>
                  </a:cubicBezTo>
                  <a:cubicBezTo>
                    <a:pt x="23" y="403"/>
                    <a:pt x="22" y="407"/>
                    <a:pt x="21" y="411"/>
                  </a:cubicBezTo>
                  <a:cubicBezTo>
                    <a:pt x="21" y="413"/>
                    <a:pt x="20" y="414"/>
                    <a:pt x="20" y="416"/>
                  </a:cubicBezTo>
                  <a:cubicBezTo>
                    <a:pt x="19" y="419"/>
                    <a:pt x="18" y="423"/>
                    <a:pt x="17" y="426"/>
                  </a:cubicBezTo>
                  <a:cubicBezTo>
                    <a:pt x="17" y="428"/>
                    <a:pt x="16" y="429"/>
                    <a:pt x="16" y="431"/>
                  </a:cubicBezTo>
                  <a:cubicBezTo>
                    <a:pt x="15" y="435"/>
                    <a:pt x="14" y="438"/>
                    <a:pt x="13" y="442"/>
                  </a:cubicBezTo>
                  <a:cubicBezTo>
                    <a:pt x="13" y="443"/>
                    <a:pt x="13" y="445"/>
                    <a:pt x="12" y="446"/>
                  </a:cubicBezTo>
                  <a:cubicBezTo>
                    <a:pt x="12" y="451"/>
                    <a:pt x="11" y="455"/>
                    <a:pt x="10" y="459"/>
                  </a:cubicBezTo>
                  <a:cubicBezTo>
                    <a:pt x="10" y="460"/>
                    <a:pt x="10" y="461"/>
                    <a:pt x="9" y="462"/>
                  </a:cubicBezTo>
                  <a:cubicBezTo>
                    <a:pt x="8" y="467"/>
                    <a:pt x="8" y="472"/>
                    <a:pt x="7" y="477"/>
                  </a:cubicBezTo>
                  <a:cubicBezTo>
                    <a:pt x="7" y="478"/>
                    <a:pt x="7" y="479"/>
                    <a:pt x="6" y="480"/>
                  </a:cubicBezTo>
                  <a:cubicBezTo>
                    <a:pt x="6" y="484"/>
                    <a:pt x="5" y="489"/>
                    <a:pt x="5" y="493"/>
                  </a:cubicBezTo>
                  <a:cubicBezTo>
                    <a:pt x="5" y="494"/>
                    <a:pt x="4" y="496"/>
                    <a:pt x="4" y="498"/>
                  </a:cubicBezTo>
                  <a:cubicBezTo>
                    <a:pt x="4" y="501"/>
                    <a:pt x="3" y="505"/>
                    <a:pt x="3" y="508"/>
                  </a:cubicBezTo>
                  <a:cubicBezTo>
                    <a:pt x="3" y="510"/>
                    <a:pt x="3" y="512"/>
                    <a:pt x="3" y="514"/>
                  </a:cubicBezTo>
                  <a:cubicBezTo>
                    <a:pt x="2" y="517"/>
                    <a:pt x="2" y="521"/>
                    <a:pt x="2" y="524"/>
                  </a:cubicBezTo>
                  <a:cubicBezTo>
                    <a:pt x="2" y="526"/>
                    <a:pt x="2" y="528"/>
                    <a:pt x="1" y="530"/>
                  </a:cubicBezTo>
                  <a:cubicBezTo>
                    <a:pt x="1" y="534"/>
                    <a:pt x="1" y="537"/>
                    <a:pt x="1" y="541"/>
                  </a:cubicBezTo>
                  <a:cubicBezTo>
                    <a:pt x="1" y="543"/>
                    <a:pt x="1" y="544"/>
                    <a:pt x="1" y="546"/>
                  </a:cubicBezTo>
                  <a:cubicBezTo>
                    <a:pt x="1" y="551"/>
                    <a:pt x="0" y="557"/>
                    <a:pt x="0" y="562"/>
                  </a:cubicBezTo>
                  <a:cubicBezTo>
                    <a:pt x="0" y="873"/>
                    <a:pt x="252" y="1125"/>
                    <a:pt x="563" y="1125"/>
                  </a:cubicBezTo>
                  <a:cubicBezTo>
                    <a:pt x="874" y="1125"/>
                    <a:pt x="1126" y="873"/>
                    <a:pt x="1126" y="562"/>
                  </a:cubicBezTo>
                  <a:cubicBezTo>
                    <a:pt x="1126" y="352"/>
                    <a:pt x="1010" y="168"/>
                    <a:pt x="839" y="72"/>
                  </a:cubicBezTo>
                  <a:close/>
                  <a:moveTo>
                    <a:pt x="1013" y="344"/>
                  </a:moveTo>
                  <a:lnTo>
                    <a:pt x="977" y="364"/>
                  </a:lnTo>
                  <a:lnTo>
                    <a:pt x="991" y="400"/>
                  </a:lnTo>
                  <a:lnTo>
                    <a:pt x="985" y="425"/>
                  </a:lnTo>
                  <a:lnTo>
                    <a:pt x="1021" y="428"/>
                  </a:lnTo>
                  <a:lnTo>
                    <a:pt x="1015" y="387"/>
                  </a:lnTo>
                  <a:lnTo>
                    <a:pt x="1001" y="368"/>
                  </a:lnTo>
                  <a:lnTo>
                    <a:pt x="1017" y="361"/>
                  </a:lnTo>
                  <a:lnTo>
                    <a:pt x="1017" y="353"/>
                  </a:lnTo>
                  <a:cubicBezTo>
                    <a:pt x="1038" y="399"/>
                    <a:pt x="1053" y="449"/>
                    <a:pt x="1059" y="501"/>
                  </a:cubicBezTo>
                  <a:lnTo>
                    <a:pt x="1020" y="494"/>
                  </a:lnTo>
                  <a:lnTo>
                    <a:pt x="998" y="475"/>
                  </a:lnTo>
                  <a:lnTo>
                    <a:pt x="986" y="481"/>
                  </a:lnTo>
                  <a:lnTo>
                    <a:pt x="1003" y="520"/>
                  </a:lnTo>
                  <a:lnTo>
                    <a:pt x="1028" y="507"/>
                  </a:lnTo>
                  <a:lnTo>
                    <a:pt x="1062" y="532"/>
                  </a:lnTo>
                  <a:lnTo>
                    <a:pt x="1062" y="533"/>
                  </a:lnTo>
                  <a:lnTo>
                    <a:pt x="962" y="592"/>
                  </a:lnTo>
                  <a:lnTo>
                    <a:pt x="911" y="491"/>
                  </a:lnTo>
                  <a:lnTo>
                    <a:pt x="900" y="492"/>
                  </a:lnTo>
                  <a:lnTo>
                    <a:pt x="953" y="613"/>
                  </a:lnTo>
                  <a:lnTo>
                    <a:pt x="1004" y="589"/>
                  </a:lnTo>
                  <a:lnTo>
                    <a:pt x="988" y="645"/>
                  </a:lnTo>
                  <a:lnTo>
                    <a:pt x="937" y="692"/>
                  </a:lnTo>
                  <a:lnTo>
                    <a:pt x="944" y="761"/>
                  </a:lnTo>
                  <a:lnTo>
                    <a:pt x="916" y="784"/>
                  </a:lnTo>
                  <a:lnTo>
                    <a:pt x="862" y="884"/>
                  </a:lnTo>
                  <a:lnTo>
                    <a:pt x="809" y="894"/>
                  </a:lnTo>
                  <a:lnTo>
                    <a:pt x="762" y="781"/>
                  </a:lnTo>
                  <a:lnTo>
                    <a:pt x="774" y="729"/>
                  </a:lnTo>
                  <a:lnTo>
                    <a:pt x="745" y="639"/>
                  </a:lnTo>
                  <a:lnTo>
                    <a:pt x="646" y="645"/>
                  </a:lnTo>
                  <a:lnTo>
                    <a:pt x="592" y="592"/>
                  </a:lnTo>
                  <a:lnTo>
                    <a:pt x="601" y="505"/>
                  </a:lnTo>
                  <a:lnTo>
                    <a:pt x="654" y="441"/>
                  </a:lnTo>
                  <a:lnTo>
                    <a:pt x="758" y="423"/>
                  </a:lnTo>
                  <a:lnTo>
                    <a:pt x="764" y="450"/>
                  </a:lnTo>
                  <a:lnTo>
                    <a:pt x="806" y="478"/>
                  </a:lnTo>
                  <a:lnTo>
                    <a:pt x="822" y="455"/>
                  </a:lnTo>
                  <a:lnTo>
                    <a:pt x="886" y="472"/>
                  </a:lnTo>
                  <a:lnTo>
                    <a:pt x="903" y="462"/>
                  </a:lnTo>
                  <a:lnTo>
                    <a:pt x="910" y="437"/>
                  </a:lnTo>
                  <a:lnTo>
                    <a:pt x="866" y="430"/>
                  </a:lnTo>
                  <a:lnTo>
                    <a:pt x="851" y="405"/>
                  </a:lnTo>
                  <a:lnTo>
                    <a:pt x="841" y="400"/>
                  </a:lnTo>
                  <a:lnTo>
                    <a:pt x="832" y="431"/>
                  </a:lnTo>
                  <a:lnTo>
                    <a:pt x="812" y="407"/>
                  </a:lnTo>
                  <a:lnTo>
                    <a:pt x="814" y="386"/>
                  </a:lnTo>
                  <a:lnTo>
                    <a:pt x="787" y="365"/>
                  </a:lnTo>
                  <a:lnTo>
                    <a:pt x="772" y="357"/>
                  </a:lnTo>
                  <a:lnTo>
                    <a:pt x="773" y="378"/>
                  </a:lnTo>
                  <a:lnTo>
                    <a:pt x="806" y="400"/>
                  </a:lnTo>
                  <a:lnTo>
                    <a:pt x="789" y="420"/>
                  </a:lnTo>
                  <a:lnTo>
                    <a:pt x="765" y="388"/>
                  </a:lnTo>
                  <a:lnTo>
                    <a:pt x="748" y="369"/>
                  </a:lnTo>
                  <a:lnTo>
                    <a:pt x="709" y="388"/>
                  </a:lnTo>
                  <a:lnTo>
                    <a:pt x="682" y="432"/>
                  </a:lnTo>
                  <a:lnTo>
                    <a:pt x="640" y="425"/>
                  </a:lnTo>
                  <a:lnTo>
                    <a:pt x="637" y="373"/>
                  </a:lnTo>
                  <a:lnTo>
                    <a:pt x="691" y="377"/>
                  </a:lnTo>
                  <a:lnTo>
                    <a:pt x="674" y="349"/>
                  </a:lnTo>
                  <a:lnTo>
                    <a:pt x="663" y="327"/>
                  </a:lnTo>
                  <a:lnTo>
                    <a:pt x="704" y="314"/>
                  </a:lnTo>
                  <a:lnTo>
                    <a:pt x="726" y="284"/>
                  </a:lnTo>
                  <a:lnTo>
                    <a:pt x="744" y="283"/>
                  </a:lnTo>
                  <a:lnTo>
                    <a:pt x="741" y="266"/>
                  </a:lnTo>
                  <a:lnTo>
                    <a:pt x="752" y="250"/>
                  </a:lnTo>
                  <a:lnTo>
                    <a:pt x="761" y="276"/>
                  </a:lnTo>
                  <a:lnTo>
                    <a:pt x="812" y="277"/>
                  </a:lnTo>
                  <a:lnTo>
                    <a:pt x="827" y="241"/>
                  </a:lnTo>
                  <a:lnTo>
                    <a:pt x="846" y="248"/>
                  </a:lnTo>
                  <a:lnTo>
                    <a:pt x="840" y="223"/>
                  </a:lnTo>
                  <a:lnTo>
                    <a:pt x="870" y="213"/>
                  </a:lnTo>
                  <a:lnTo>
                    <a:pt x="861" y="202"/>
                  </a:lnTo>
                  <a:lnTo>
                    <a:pt x="833" y="210"/>
                  </a:lnTo>
                  <a:lnTo>
                    <a:pt x="824" y="186"/>
                  </a:lnTo>
                  <a:lnTo>
                    <a:pt x="822" y="186"/>
                  </a:lnTo>
                  <a:lnTo>
                    <a:pt x="823" y="184"/>
                  </a:lnTo>
                  <a:lnTo>
                    <a:pt x="819" y="174"/>
                  </a:lnTo>
                  <a:lnTo>
                    <a:pt x="830" y="167"/>
                  </a:lnTo>
                  <a:lnTo>
                    <a:pt x="838" y="145"/>
                  </a:lnTo>
                  <a:cubicBezTo>
                    <a:pt x="913" y="194"/>
                    <a:pt x="973" y="263"/>
                    <a:pt x="1013" y="344"/>
                  </a:cubicBezTo>
                  <a:close/>
                  <a:moveTo>
                    <a:pt x="957" y="819"/>
                  </a:moveTo>
                  <a:lnTo>
                    <a:pt x="958" y="767"/>
                  </a:lnTo>
                  <a:lnTo>
                    <a:pt x="994" y="739"/>
                  </a:lnTo>
                  <a:lnTo>
                    <a:pt x="999" y="765"/>
                  </a:lnTo>
                  <a:lnTo>
                    <a:pt x="978" y="828"/>
                  </a:lnTo>
                  <a:lnTo>
                    <a:pt x="957" y="819"/>
                  </a:lnTo>
                  <a:close/>
                  <a:moveTo>
                    <a:pt x="531" y="97"/>
                  </a:moveTo>
                  <a:lnTo>
                    <a:pt x="548" y="132"/>
                  </a:lnTo>
                  <a:lnTo>
                    <a:pt x="524" y="177"/>
                  </a:lnTo>
                  <a:lnTo>
                    <a:pt x="523" y="201"/>
                  </a:lnTo>
                  <a:lnTo>
                    <a:pt x="499" y="216"/>
                  </a:lnTo>
                  <a:lnTo>
                    <a:pt x="496" y="278"/>
                  </a:lnTo>
                  <a:lnTo>
                    <a:pt x="461" y="269"/>
                  </a:lnTo>
                  <a:lnTo>
                    <a:pt x="393" y="92"/>
                  </a:lnTo>
                  <a:cubicBezTo>
                    <a:pt x="431" y="78"/>
                    <a:pt x="471" y="69"/>
                    <a:pt x="512" y="65"/>
                  </a:cubicBezTo>
                  <a:lnTo>
                    <a:pt x="531" y="97"/>
                  </a:lnTo>
                  <a:close/>
                  <a:moveTo>
                    <a:pt x="832" y="141"/>
                  </a:moveTo>
                  <a:lnTo>
                    <a:pt x="829" y="141"/>
                  </a:lnTo>
                  <a:lnTo>
                    <a:pt x="812" y="161"/>
                  </a:lnTo>
                  <a:lnTo>
                    <a:pt x="798" y="193"/>
                  </a:lnTo>
                  <a:lnTo>
                    <a:pt x="814" y="210"/>
                  </a:lnTo>
                  <a:lnTo>
                    <a:pt x="798" y="251"/>
                  </a:lnTo>
                  <a:lnTo>
                    <a:pt x="775" y="260"/>
                  </a:lnTo>
                  <a:lnTo>
                    <a:pt x="761" y="219"/>
                  </a:lnTo>
                  <a:lnTo>
                    <a:pt x="734" y="234"/>
                  </a:lnTo>
                  <a:lnTo>
                    <a:pt x="721" y="227"/>
                  </a:lnTo>
                  <a:lnTo>
                    <a:pt x="722" y="186"/>
                  </a:lnTo>
                  <a:lnTo>
                    <a:pt x="746" y="168"/>
                  </a:lnTo>
                  <a:lnTo>
                    <a:pt x="765" y="120"/>
                  </a:lnTo>
                  <a:lnTo>
                    <a:pt x="780" y="112"/>
                  </a:lnTo>
                  <a:cubicBezTo>
                    <a:pt x="798" y="120"/>
                    <a:pt x="815" y="130"/>
                    <a:pt x="832" y="141"/>
                  </a:cubicBezTo>
                  <a:close/>
                  <a:moveTo>
                    <a:pt x="653" y="245"/>
                  </a:moveTo>
                  <a:lnTo>
                    <a:pt x="630" y="245"/>
                  </a:lnTo>
                  <a:lnTo>
                    <a:pt x="631" y="220"/>
                  </a:lnTo>
                  <a:lnTo>
                    <a:pt x="651" y="197"/>
                  </a:lnTo>
                  <a:lnTo>
                    <a:pt x="649" y="179"/>
                  </a:lnTo>
                  <a:lnTo>
                    <a:pt x="670" y="164"/>
                  </a:lnTo>
                  <a:lnTo>
                    <a:pt x="705" y="232"/>
                  </a:lnTo>
                  <a:lnTo>
                    <a:pt x="696" y="246"/>
                  </a:lnTo>
                  <a:lnTo>
                    <a:pt x="664" y="261"/>
                  </a:lnTo>
                  <a:lnTo>
                    <a:pt x="664" y="214"/>
                  </a:lnTo>
                  <a:lnTo>
                    <a:pt x="653" y="245"/>
                  </a:lnTo>
                  <a:close/>
                  <a:moveTo>
                    <a:pt x="280" y="150"/>
                  </a:moveTo>
                  <a:lnTo>
                    <a:pt x="316" y="146"/>
                  </a:lnTo>
                  <a:lnTo>
                    <a:pt x="316" y="224"/>
                  </a:lnTo>
                  <a:lnTo>
                    <a:pt x="254" y="236"/>
                  </a:lnTo>
                  <a:lnTo>
                    <a:pt x="242" y="269"/>
                  </a:lnTo>
                  <a:lnTo>
                    <a:pt x="301" y="333"/>
                  </a:lnTo>
                  <a:lnTo>
                    <a:pt x="316" y="331"/>
                  </a:lnTo>
                  <a:lnTo>
                    <a:pt x="326" y="251"/>
                  </a:lnTo>
                  <a:lnTo>
                    <a:pt x="365" y="249"/>
                  </a:lnTo>
                  <a:lnTo>
                    <a:pt x="381" y="294"/>
                  </a:lnTo>
                  <a:lnTo>
                    <a:pt x="401" y="281"/>
                  </a:lnTo>
                  <a:lnTo>
                    <a:pt x="446" y="382"/>
                  </a:lnTo>
                  <a:lnTo>
                    <a:pt x="383" y="411"/>
                  </a:lnTo>
                  <a:lnTo>
                    <a:pt x="334" y="437"/>
                  </a:lnTo>
                  <a:lnTo>
                    <a:pt x="295" y="490"/>
                  </a:lnTo>
                  <a:lnTo>
                    <a:pt x="295" y="517"/>
                  </a:lnTo>
                  <a:lnTo>
                    <a:pt x="281" y="519"/>
                  </a:lnTo>
                  <a:lnTo>
                    <a:pt x="271" y="490"/>
                  </a:lnTo>
                  <a:lnTo>
                    <a:pt x="215" y="499"/>
                  </a:lnTo>
                  <a:lnTo>
                    <a:pt x="203" y="533"/>
                  </a:lnTo>
                  <a:lnTo>
                    <a:pt x="217" y="554"/>
                  </a:lnTo>
                  <a:lnTo>
                    <a:pt x="238" y="537"/>
                  </a:lnTo>
                  <a:lnTo>
                    <a:pt x="258" y="539"/>
                  </a:lnTo>
                  <a:lnTo>
                    <a:pt x="248" y="568"/>
                  </a:lnTo>
                  <a:lnTo>
                    <a:pt x="273" y="570"/>
                  </a:lnTo>
                  <a:lnTo>
                    <a:pt x="281" y="601"/>
                  </a:lnTo>
                  <a:lnTo>
                    <a:pt x="297" y="606"/>
                  </a:lnTo>
                  <a:lnTo>
                    <a:pt x="309" y="586"/>
                  </a:lnTo>
                  <a:lnTo>
                    <a:pt x="391" y="595"/>
                  </a:lnTo>
                  <a:lnTo>
                    <a:pt x="446" y="636"/>
                  </a:lnTo>
                  <a:lnTo>
                    <a:pt x="455" y="668"/>
                  </a:lnTo>
                  <a:lnTo>
                    <a:pt x="526" y="703"/>
                  </a:lnTo>
                  <a:lnTo>
                    <a:pt x="485" y="787"/>
                  </a:lnTo>
                  <a:lnTo>
                    <a:pt x="445" y="793"/>
                  </a:lnTo>
                  <a:lnTo>
                    <a:pt x="438" y="826"/>
                  </a:lnTo>
                  <a:lnTo>
                    <a:pt x="354" y="898"/>
                  </a:lnTo>
                  <a:lnTo>
                    <a:pt x="316" y="971"/>
                  </a:lnTo>
                  <a:lnTo>
                    <a:pt x="344" y="1002"/>
                  </a:lnTo>
                  <a:lnTo>
                    <a:pt x="310" y="993"/>
                  </a:lnTo>
                  <a:cubicBezTo>
                    <a:pt x="305" y="990"/>
                    <a:pt x="300" y="987"/>
                    <a:pt x="295" y="984"/>
                  </a:cubicBezTo>
                  <a:lnTo>
                    <a:pt x="281" y="949"/>
                  </a:lnTo>
                  <a:lnTo>
                    <a:pt x="328" y="758"/>
                  </a:lnTo>
                  <a:lnTo>
                    <a:pt x="289" y="724"/>
                  </a:lnTo>
                  <a:lnTo>
                    <a:pt x="271" y="650"/>
                  </a:lnTo>
                  <a:lnTo>
                    <a:pt x="293" y="614"/>
                  </a:lnTo>
                  <a:lnTo>
                    <a:pt x="273" y="617"/>
                  </a:lnTo>
                  <a:lnTo>
                    <a:pt x="244" y="580"/>
                  </a:lnTo>
                  <a:lnTo>
                    <a:pt x="219" y="568"/>
                  </a:lnTo>
                  <a:lnTo>
                    <a:pt x="162" y="548"/>
                  </a:lnTo>
                  <a:lnTo>
                    <a:pt x="115" y="474"/>
                  </a:lnTo>
                  <a:lnTo>
                    <a:pt x="86" y="421"/>
                  </a:lnTo>
                  <a:lnTo>
                    <a:pt x="86" y="411"/>
                  </a:lnTo>
                  <a:cubicBezTo>
                    <a:pt x="120" y="304"/>
                    <a:pt x="189" y="213"/>
                    <a:pt x="280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9" name="POWER_USER_ID_ICONS_Flag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121477" y="1155611"/>
            <a:ext cx="185891" cy="219276"/>
            <a:chOff x="5" y="-91"/>
            <a:chExt cx="490" cy="578"/>
          </a:xfrm>
          <a:solidFill>
            <a:schemeClr val="accent4"/>
          </a:solidFill>
        </p:grpSpPr>
        <p:sp>
          <p:nvSpPr>
            <p:cNvPr id="40" name="POWER_USER_ID_ICONS_Flag2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" y="39"/>
              <a:ext cx="162" cy="448"/>
            </a:xfrm>
            <a:custGeom>
              <a:avLst/>
              <a:gdLst>
                <a:gd name="T0" fmla="*/ 55 w 398"/>
                <a:gd name="T1" fmla="*/ 10 h 1102"/>
                <a:gd name="T2" fmla="*/ 135 w 398"/>
                <a:gd name="T3" fmla="*/ 56 h 1102"/>
                <a:gd name="T4" fmla="*/ 389 w 398"/>
                <a:gd name="T5" fmla="*/ 1012 h 1102"/>
                <a:gd name="T6" fmla="*/ 343 w 398"/>
                <a:gd name="T7" fmla="*/ 1093 h 1102"/>
                <a:gd name="T8" fmla="*/ 263 w 398"/>
                <a:gd name="T9" fmla="*/ 1046 h 1102"/>
                <a:gd name="T10" fmla="*/ 9 w 398"/>
                <a:gd name="T11" fmla="*/ 91 h 1102"/>
                <a:gd name="T12" fmla="*/ 55 w 398"/>
                <a:gd name="T13" fmla="*/ 10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8" h="1102">
                  <a:moveTo>
                    <a:pt x="55" y="10"/>
                  </a:moveTo>
                  <a:cubicBezTo>
                    <a:pt x="90" y="0"/>
                    <a:pt x="126" y="21"/>
                    <a:pt x="135" y="56"/>
                  </a:cubicBezTo>
                  <a:lnTo>
                    <a:pt x="389" y="1012"/>
                  </a:lnTo>
                  <a:cubicBezTo>
                    <a:pt x="398" y="1047"/>
                    <a:pt x="378" y="1083"/>
                    <a:pt x="343" y="1093"/>
                  </a:cubicBezTo>
                  <a:cubicBezTo>
                    <a:pt x="308" y="1102"/>
                    <a:pt x="272" y="1081"/>
                    <a:pt x="263" y="1046"/>
                  </a:cubicBezTo>
                  <a:lnTo>
                    <a:pt x="9" y="91"/>
                  </a:lnTo>
                  <a:cubicBezTo>
                    <a:pt x="0" y="55"/>
                    <a:pt x="21" y="19"/>
                    <a:pt x="55" y="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POWER_USER_ID_ICONS_Flag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4" y="-91"/>
              <a:ext cx="411" cy="350"/>
            </a:xfrm>
            <a:custGeom>
              <a:avLst/>
              <a:gdLst>
                <a:gd name="T0" fmla="*/ 0 w 1012"/>
                <a:gd name="T1" fmla="*/ 273 h 860"/>
                <a:gd name="T2" fmla="*/ 446 w 1012"/>
                <a:gd name="T3" fmla="*/ 171 h 860"/>
                <a:gd name="T4" fmla="*/ 1012 w 1012"/>
                <a:gd name="T5" fmla="*/ 260 h 860"/>
                <a:gd name="T6" fmla="*/ 932 w 1012"/>
                <a:gd name="T7" fmla="*/ 514 h 860"/>
                <a:gd name="T8" fmla="*/ 529 w 1012"/>
                <a:gd name="T9" fmla="*/ 671 h 860"/>
                <a:gd name="T10" fmla="*/ 162 w 1012"/>
                <a:gd name="T11" fmla="*/ 860 h 860"/>
                <a:gd name="T12" fmla="*/ 0 w 1012"/>
                <a:gd name="T13" fmla="*/ 273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2" h="860">
                  <a:moveTo>
                    <a:pt x="0" y="273"/>
                  </a:moveTo>
                  <a:cubicBezTo>
                    <a:pt x="16" y="243"/>
                    <a:pt x="175" y="0"/>
                    <a:pt x="446" y="171"/>
                  </a:cubicBezTo>
                  <a:cubicBezTo>
                    <a:pt x="718" y="343"/>
                    <a:pt x="895" y="465"/>
                    <a:pt x="1012" y="260"/>
                  </a:cubicBezTo>
                  <a:cubicBezTo>
                    <a:pt x="1012" y="260"/>
                    <a:pt x="983" y="426"/>
                    <a:pt x="932" y="514"/>
                  </a:cubicBezTo>
                  <a:cubicBezTo>
                    <a:pt x="882" y="602"/>
                    <a:pt x="725" y="723"/>
                    <a:pt x="529" y="671"/>
                  </a:cubicBezTo>
                  <a:cubicBezTo>
                    <a:pt x="349" y="624"/>
                    <a:pt x="216" y="697"/>
                    <a:pt x="162" y="860"/>
                  </a:cubicBezTo>
                  <a:cubicBezTo>
                    <a:pt x="162" y="860"/>
                    <a:pt x="12" y="318"/>
                    <a:pt x="0" y="27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42" name="POWER_USER_ID_ICONS_Clipboard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4491088" y="887509"/>
            <a:ext cx="123674" cy="165026"/>
            <a:chOff x="63" y="9"/>
            <a:chExt cx="326" cy="435"/>
          </a:xfrm>
          <a:noFill/>
        </p:grpSpPr>
        <p:sp>
          <p:nvSpPr>
            <p:cNvPr id="43" name="POWER_USER_ID_ICONS_Clipboard3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63" y="9"/>
              <a:ext cx="326" cy="435"/>
            </a:xfrm>
            <a:custGeom>
              <a:avLst/>
              <a:gdLst>
                <a:gd name="T0" fmla="*/ 206 w 225"/>
                <a:gd name="T1" fmla="*/ 24 h 299"/>
                <a:gd name="T2" fmla="*/ 175 w 225"/>
                <a:gd name="T3" fmla="*/ 24 h 299"/>
                <a:gd name="T4" fmla="*/ 172 w 225"/>
                <a:gd name="T5" fmla="*/ 25 h 299"/>
                <a:gd name="T6" fmla="*/ 150 w 225"/>
                <a:gd name="T7" fmla="*/ 12 h 299"/>
                <a:gd name="T8" fmla="*/ 129 w 225"/>
                <a:gd name="T9" fmla="*/ 12 h 299"/>
                <a:gd name="T10" fmla="*/ 112 w 225"/>
                <a:gd name="T11" fmla="*/ 0 h 299"/>
                <a:gd name="T12" fmla="*/ 95 w 225"/>
                <a:gd name="T13" fmla="*/ 12 h 299"/>
                <a:gd name="T14" fmla="*/ 74 w 225"/>
                <a:gd name="T15" fmla="*/ 12 h 299"/>
                <a:gd name="T16" fmla="*/ 52 w 225"/>
                <a:gd name="T17" fmla="*/ 25 h 299"/>
                <a:gd name="T18" fmla="*/ 50 w 225"/>
                <a:gd name="T19" fmla="*/ 24 h 299"/>
                <a:gd name="T20" fmla="*/ 18 w 225"/>
                <a:gd name="T21" fmla="*/ 24 h 299"/>
                <a:gd name="T22" fmla="*/ 0 w 225"/>
                <a:gd name="T23" fmla="*/ 43 h 299"/>
                <a:gd name="T24" fmla="*/ 0 w 225"/>
                <a:gd name="T25" fmla="*/ 280 h 299"/>
                <a:gd name="T26" fmla="*/ 18 w 225"/>
                <a:gd name="T27" fmla="*/ 299 h 299"/>
                <a:gd name="T28" fmla="*/ 206 w 225"/>
                <a:gd name="T29" fmla="*/ 299 h 299"/>
                <a:gd name="T30" fmla="*/ 225 w 225"/>
                <a:gd name="T31" fmla="*/ 280 h 299"/>
                <a:gd name="T32" fmla="*/ 225 w 225"/>
                <a:gd name="T33" fmla="*/ 43 h 299"/>
                <a:gd name="T34" fmla="*/ 206 w 225"/>
                <a:gd name="T35" fmla="*/ 24 h 299"/>
                <a:gd name="T36" fmla="*/ 62 w 225"/>
                <a:gd name="T37" fmla="*/ 36 h 299"/>
                <a:gd name="T38" fmla="*/ 74 w 225"/>
                <a:gd name="T39" fmla="*/ 24 h 299"/>
                <a:gd name="T40" fmla="*/ 100 w 225"/>
                <a:gd name="T41" fmla="*/ 24 h 299"/>
                <a:gd name="T42" fmla="*/ 100 w 225"/>
                <a:gd name="T43" fmla="*/ 24 h 299"/>
                <a:gd name="T44" fmla="*/ 100 w 225"/>
                <a:gd name="T45" fmla="*/ 24 h 299"/>
                <a:gd name="T46" fmla="*/ 107 w 225"/>
                <a:gd name="T47" fmla="*/ 18 h 299"/>
                <a:gd name="T48" fmla="*/ 112 w 225"/>
                <a:gd name="T49" fmla="*/ 12 h 299"/>
                <a:gd name="T50" fmla="*/ 117 w 225"/>
                <a:gd name="T51" fmla="*/ 18 h 299"/>
                <a:gd name="T52" fmla="*/ 124 w 225"/>
                <a:gd name="T53" fmla="*/ 24 h 299"/>
                <a:gd name="T54" fmla="*/ 124 w 225"/>
                <a:gd name="T55" fmla="*/ 24 h 299"/>
                <a:gd name="T56" fmla="*/ 124 w 225"/>
                <a:gd name="T57" fmla="*/ 24 h 299"/>
                <a:gd name="T58" fmla="*/ 150 w 225"/>
                <a:gd name="T59" fmla="*/ 24 h 299"/>
                <a:gd name="T60" fmla="*/ 162 w 225"/>
                <a:gd name="T61" fmla="*/ 36 h 299"/>
                <a:gd name="T62" fmla="*/ 162 w 225"/>
                <a:gd name="T63" fmla="*/ 49 h 299"/>
                <a:gd name="T64" fmla="*/ 62 w 225"/>
                <a:gd name="T65" fmla="*/ 49 h 299"/>
                <a:gd name="T66" fmla="*/ 62 w 225"/>
                <a:gd name="T67" fmla="*/ 36 h 299"/>
                <a:gd name="T68" fmla="*/ 212 w 225"/>
                <a:gd name="T69" fmla="*/ 280 h 299"/>
                <a:gd name="T70" fmla="*/ 206 w 225"/>
                <a:gd name="T71" fmla="*/ 287 h 299"/>
                <a:gd name="T72" fmla="*/ 18 w 225"/>
                <a:gd name="T73" fmla="*/ 287 h 299"/>
                <a:gd name="T74" fmla="*/ 12 w 225"/>
                <a:gd name="T75" fmla="*/ 280 h 299"/>
                <a:gd name="T76" fmla="*/ 12 w 225"/>
                <a:gd name="T77" fmla="*/ 43 h 299"/>
                <a:gd name="T78" fmla="*/ 18 w 225"/>
                <a:gd name="T79" fmla="*/ 37 h 299"/>
                <a:gd name="T80" fmla="*/ 50 w 225"/>
                <a:gd name="T81" fmla="*/ 37 h 299"/>
                <a:gd name="T82" fmla="*/ 50 w 225"/>
                <a:gd name="T83" fmla="*/ 55 h 299"/>
                <a:gd name="T84" fmla="*/ 56 w 225"/>
                <a:gd name="T85" fmla="*/ 62 h 299"/>
                <a:gd name="T86" fmla="*/ 168 w 225"/>
                <a:gd name="T87" fmla="*/ 62 h 299"/>
                <a:gd name="T88" fmla="*/ 175 w 225"/>
                <a:gd name="T89" fmla="*/ 55 h 299"/>
                <a:gd name="T90" fmla="*/ 175 w 225"/>
                <a:gd name="T91" fmla="*/ 37 h 299"/>
                <a:gd name="T92" fmla="*/ 206 w 225"/>
                <a:gd name="T93" fmla="*/ 37 h 299"/>
                <a:gd name="T94" fmla="*/ 212 w 225"/>
                <a:gd name="T95" fmla="*/ 43 h 299"/>
                <a:gd name="T96" fmla="*/ 212 w 225"/>
                <a:gd name="T97" fmla="*/ 28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" h="299">
                  <a:moveTo>
                    <a:pt x="206" y="24"/>
                  </a:moveTo>
                  <a:lnTo>
                    <a:pt x="175" y="24"/>
                  </a:lnTo>
                  <a:cubicBezTo>
                    <a:pt x="173" y="24"/>
                    <a:pt x="173" y="24"/>
                    <a:pt x="172" y="25"/>
                  </a:cubicBezTo>
                  <a:cubicBezTo>
                    <a:pt x="168" y="17"/>
                    <a:pt x="159" y="12"/>
                    <a:pt x="150" y="12"/>
                  </a:cubicBezTo>
                  <a:lnTo>
                    <a:pt x="129" y="12"/>
                  </a:lnTo>
                  <a:cubicBezTo>
                    <a:pt x="126" y="5"/>
                    <a:pt x="120" y="0"/>
                    <a:pt x="112" y="0"/>
                  </a:cubicBezTo>
                  <a:cubicBezTo>
                    <a:pt x="104" y="0"/>
                    <a:pt x="98" y="5"/>
                    <a:pt x="95" y="12"/>
                  </a:cubicBezTo>
                  <a:lnTo>
                    <a:pt x="74" y="12"/>
                  </a:lnTo>
                  <a:cubicBezTo>
                    <a:pt x="65" y="12"/>
                    <a:pt x="56" y="17"/>
                    <a:pt x="52" y="25"/>
                  </a:cubicBezTo>
                  <a:cubicBezTo>
                    <a:pt x="51" y="24"/>
                    <a:pt x="51" y="24"/>
                    <a:pt x="50" y="24"/>
                  </a:cubicBezTo>
                  <a:lnTo>
                    <a:pt x="18" y="24"/>
                  </a:lnTo>
                  <a:cubicBezTo>
                    <a:pt x="8" y="24"/>
                    <a:pt x="0" y="32"/>
                    <a:pt x="0" y="43"/>
                  </a:cubicBezTo>
                  <a:lnTo>
                    <a:pt x="0" y="280"/>
                  </a:lnTo>
                  <a:cubicBezTo>
                    <a:pt x="0" y="291"/>
                    <a:pt x="8" y="299"/>
                    <a:pt x="18" y="299"/>
                  </a:cubicBezTo>
                  <a:lnTo>
                    <a:pt x="206" y="299"/>
                  </a:lnTo>
                  <a:cubicBezTo>
                    <a:pt x="216" y="299"/>
                    <a:pt x="225" y="291"/>
                    <a:pt x="225" y="280"/>
                  </a:cubicBezTo>
                  <a:lnTo>
                    <a:pt x="225" y="43"/>
                  </a:lnTo>
                  <a:cubicBezTo>
                    <a:pt x="225" y="32"/>
                    <a:pt x="216" y="24"/>
                    <a:pt x="206" y="24"/>
                  </a:cubicBezTo>
                  <a:close/>
                  <a:moveTo>
                    <a:pt x="62" y="36"/>
                  </a:moveTo>
                  <a:cubicBezTo>
                    <a:pt x="62" y="29"/>
                    <a:pt x="67" y="24"/>
                    <a:pt x="74" y="24"/>
                  </a:cubicBez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cubicBezTo>
                    <a:pt x="104" y="24"/>
                    <a:pt x="107" y="21"/>
                    <a:pt x="107" y="18"/>
                  </a:cubicBezTo>
                  <a:cubicBezTo>
                    <a:pt x="107" y="15"/>
                    <a:pt x="109" y="12"/>
                    <a:pt x="112" y="12"/>
                  </a:cubicBezTo>
                  <a:cubicBezTo>
                    <a:pt x="115" y="12"/>
                    <a:pt x="117" y="15"/>
                    <a:pt x="117" y="18"/>
                  </a:cubicBezTo>
                  <a:cubicBezTo>
                    <a:pt x="117" y="21"/>
                    <a:pt x="120" y="24"/>
                    <a:pt x="124" y="24"/>
                  </a:cubicBezTo>
                  <a:lnTo>
                    <a:pt x="124" y="24"/>
                  </a:lnTo>
                  <a:lnTo>
                    <a:pt x="124" y="24"/>
                  </a:lnTo>
                  <a:lnTo>
                    <a:pt x="150" y="24"/>
                  </a:lnTo>
                  <a:cubicBezTo>
                    <a:pt x="157" y="24"/>
                    <a:pt x="162" y="29"/>
                    <a:pt x="162" y="36"/>
                  </a:cubicBezTo>
                  <a:lnTo>
                    <a:pt x="162" y="49"/>
                  </a:lnTo>
                  <a:lnTo>
                    <a:pt x="62" y="49"/>
                  </a:lnTo>
                  <a:lnTo>
                    <a:pt x="62" y="36"/>
                  </a:lnTo>
                  <a:close/>
                  <a:moveTo>
                    <a:pt x="212" y="280"/>
                  </a:moveTo>
                  <a:cubicBezTo>
                    <a:pt x="212" y="284"/>
                    <a:pt x="209" y="287"/>
                    <a:pt x="206" y="287"/>
                  </a:cubicBezTo>
                  <a:lnTo>
                    <a:pt x="18" y="287"/>
                  </a:lnTo>
                  <a:cubicBezTo>
                    <a:pt x="15" y="287"/>
                    <a:pt x="12" y="284"/>
                    <a:pt x="12" y="280"/>
                  </a:cubicBezTo>
                  <a:lnTo>
                    <a:pt x="12" y="43"/>
                  </a:lnTo>
                  <a:cubicBezTo>
                    <a:pt x="12" y="39"/>
                    <a:pt x="15" y="37"/>
                    <a:pt x="18" y="37"/>
                  </a:cubicBezTo>
                  <a:lnTo>
                    <a:pt x="50" y="37"/>
                  </a:lnTo>
                  <a:lnTo>
                    <a:pt x="50" y="55"/>
                  </a:lnTo>
                  <a:cubicBezTo>
                    <a:pt x="50" y="59"/>
                    <a:pt x="52" y="62"/>
                    <a:pt x="56" y="62"/>
                  </a:cubicBezTo>
                  <a:lnTo>
                    <a:pt x="168" y="62"/>
                  </a:lnTo>
                  <a:cubicBezTo>
                    <a:pt x="172" y="62"/>
                    <a:pt x="175" y="59"/>
                    <a:pt x="175" y="55"/>
                  </a:cubicBezTo>
                  <a:lnTo>
                    <a:pt x="175" y="37"/>
                  </a:lnTo>
                  <a:lnTo>
                    <a:pt x="206" y="37"/>
                  </a:lnTo>
                  <a:cubicBezTo>
                    <a:pt x="209" y="37"/>
                    <a:pt x="212" y="39"/>
                    <a:pt x="212" y="43"/>
                  </a:cubicBezTo>
                  <a:lnTo>
                    <a:pt x="212" y="280"/>
                  </a:ln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POWER_USER_ID_ICONS_Clipboard3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25" y="245"/>
              <a:ext cx="201" cy="17"/>
            </a:xfrm>
            <a:custGeom>
              <a:avLst/>
              <a:gdLst>
                <a:gd name="T0" fmla="*/ 132 w 138"/>
                <a:gd name="T1" fmla="*/ 12 h 12"/>
                <a:gd name="T2" fmla="*/ 7 w 138"/>
                <a:gd name="T3" fmla="*/ 12 h 12"/>
                <a:gd name="T4" fmla="*/ 0 w 138"/>
                <a:gd name="T5" fmla="*/ 6 h 12"/>
                <a:gd name="T6" fmla="*/ 7 w 138"/>
                <a:gd name="T7" fmla="*/ 0 h 12"/>
                <a:gd name="T8" fmla="*/ 132 w 138"/>
                <a:gd name="T9" fmla="*/ 0 h 12"/>
                <a:gd name="T10" fmla="*/ 138 w 138"/>
                <a:gd name="T11" fmla="*/ 6 h 12"/>
                <a:gd name="T12" fmla="*/ 132 w 13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2">
                  <a:moveTo>
                    <a:pt x="132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2"/>
                    <a:pt x="138" y="6"/>
                  </a:cubicBezTo>
                  <a:cubicBezTo>
                    <a:pt x="138" y="9"/>
                    <a:pt x="135" y="12"/>
                    <a:pt x="132" y="12"/>
                  </a:cubicBez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POWER_USER_ID_ICONS_Clipboard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25" y="299"/>
              <a:ext cx="201" cy="19"/>
            </a:xfrm>
            <a:custGeom>
              <a:avLst/>
              <a:gdLst>
                <a:gd name="T0" fmla="*/ 132 w 138"/>
                <a:gd name="T1" fmla="*/ 13 h 13"/>
                <a:gd name="T2" fmla="*/ 7 w 138"/>
                <a:gd name="T3" fmla="*/ 13 h 13"/>
                <a:gd name="T4" fmla="*/ 0 w 138"/>
                <a:gd name="T5" fmla="*/ 6 h 13"/>
                <a:gd name="T6" fmla="*/ 7 w 138"/>
                <a:gd name="T7" fmla="*/ 0 h 13"/>
                <a:gd name="T8" fmla="*/ 132 w 138"/>
                <a:gd name="T9" fmla="*/ 0 h 13"/>
                <a:gd name="T10" fmla="*/ 138 w 138"/>
                <a:gd name="T11" fmla="*/ 6 h 13"/>
                <a:gd name="T12" fmla="*/ 132 w 13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3">
                  <a:moveTo>
                    <a:pt x="132" y="13"/>
                  </a:moveTo>
                  <a:lnTo>
                    <a:pt x="7" y="13"/>
                  </a:ln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3"/>
                    <a:pt x="138" y="6"/>
                  </a:cubicBezTo>
                  <a:cubicBezTo>
                    <a:pt x="138" y="10"/>
                    <a:pt x="135" y="13"/>
                    <a:pt x="132" y="13"/>
                  </a:cubicBez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POWER_USER_ID_ICONS_Clipboard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5" y="354"/>
              <a:ext cx="109" cy="17"/>
            </a:xfrm>
            <a:custGeom>
              <a:avLst/>
              <a:gdLst>
                <a:gd name="T0" fmla="*/ 69 w 75"/>
                <a:gd name="T1" fmla="*/ 12 h 12"/>
                <a:gd name="T2" fmla="*/ 7 w 75"/>
                <a:gd name="T3" fmla="*/ 12 h 12"/>
                <a:gd name="T4" fmla="*/ 0 w 75"/>
                <a:gd name="T5" fmla="*/ 6 h 12"/>
                <a:gd name="T6" fmla="*/ 7 w 75"/>
                <a:gd name="T7" fmla="*/ 0 h 12"/>
                <a:gd name="T8" fmla="*/ 69 w 75"/>
                <a:gd name="T9" fmla="*/ 0 h 12"/>
                <a:gd name="T10" fmla="*/ 75 w 75"/>
                <a:gd name="T11" fmla="*/ 6 h 12"/>
                <a:gd name="T12" fmla="*/ 69 w 7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">
                  <a:moveTo>
                    <a:pt x="69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69" y="0"/>
                  </a:lnTo>
                  <a:cubicBezTo>
                    <a:pt x="72" y="0"/>
                    <a:pt x="75" y="2"/>
                    <a:pt x="75" y="6"/>
                  </a:cubicBezTo>
                  <a:cubicBezTo>
                    <a:pt x="75" y="9"/>
                    <a:pt x="72" y="12"/>
                    <a:pt x="69" y="12"/>
                  </a:cubicBez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Tx/>
                <a:defRPr/>
              </a:pPr>
              <a:endParaRPr lang="en-US" sz="135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8" name="Freeform: Shape 47"/>
          <p:cNvSpPr>
            <a:spLocks noChangeAspect="1"/>
          </p:cNvSpPr>
          <p:nvPr/>
        </p:nvSpPr>
        <p:spPr>
          <a:xfrm rot="10800000">
            <a:off x="304205" y="2071585"/>
            <a:ext cx="685800" cy="792514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350" dirty="0">
              <a:solidFill>
                <a:sysClr val="windowText" lastClr="000000"/>
              </a:solidFill>
            </a:endParaRPr>
          </a:p>
        </p:txBody>
      </p:sp>
      <p:sp>
        <p:nvSpPr>
          <p:cNvPr id="49" name="Freeform: Shape 48"/>
          <p:cNvSpPr>
            <a:spLocks noChangeAspect="1"/>
          </p:cNvSpPr>
          <p:nvPr/>
        </p:nvSpPr>
        <p:spPr>
          <a:xfrm rot="10800000">
            <a:off x="4235000" y="2969743"/>
            <a:ext cx="685800" cy="792514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350" dirty="0">
              <a:solidFill>
                <a:sysClr val="windowText" lastClr="000000"/>
              </a:solidFill>
            </a:endParaRPr>
          </a:p>
        </p:txBody>
      </p:sp>
      <p:sp>
        <p:nvSpPr>
          <p:cNvPr id="50" name="Freeform: Shape 49"/>
          <p:cNvSpPr>
            <a:spLocks noChangeAspect="1"/>
          </p:cNvSpPr>
          <p:nvPr/>
        </p:nvSpPr>
        <p:spPr>
          <a:xfrm rot="10800000">
            <a:off x="4303724" y="1376166"/>
            <a:ext cx="468411" cy="541298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350" dirty="0">
              <a:solidFill>
                <a:sysClr val="windowText" lastClr="000000"/>
              </a:solidFill>
            </a:endParaRPr>
          </a:p>
        </p:txBody>
      </p:sp>
      <p:sp>
        <p:nvSpPr>
          <p:cNvPr id="51" name="Freeform: Shape 50"/>
          <p:cNvSpPr>
            <a:spLocks noChangeAspect="1"/>
          </p:cNvSpPr>
          <p:nvPr/>
        </p:nvSpPr>
        <p:spPr>
          <a:xfrm rot="10800000">
            <a:off x="3053001" y="1115989"/>
            <a:ext cx="290846" cy="336104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350" dirty="0">
              <a:solidFill>
                <a:sysClr val="windowText" lastClr="000000"/>
              </a:solidFill>
            </a:endParaRPr>
          </a:p>
        </p:txBody>
      </p:sp>
      <p:sp>
        <p:nvSpPr>
          <p:cNvPr id="52" name="Freeform: Shape 51"/>
          <p:cNvSpPr>
            <a:spLocks noChangeAspect="1"/>
          </p:cNvSpPr>
          <p:nvPr/>
        </p:nvSpPr>
        <p:spPr>
          <a:xfrm rot="10800000">
            <a:off x="4415502" y="829513"/>
            <a:ext cx="290846" cy="336104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350" dirty="0">
              <a:solidFill>
                <a:sysClr val="windowText" lastClr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26601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20"/>
          <p:cNvSpPr txBox="1">
            <a:spLocks noGrp="1"/>
          </p:cNvSpPr>
          <p:nvPr>
            <p:ph type="title"/>
          </p:nvPr>
        </p:nvSpPr>
        <p:spPr>
          <a:xfrm>
            <a:off x="2333730" y="445025"/>
            <a:ext cx="5189814" cy="74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dirty="0"/>
              <a:t>BUSINESS QUESTIONS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0DC2348-AF38-325B-6E36-9854FC2EF287}"/>
              </a:ext>
            </a:extLst>
          </p:cNvPr>
          <p:cNvSpPr txBox="1"/>
          <p:nvPr/>
        </p:nvSpPr>
        <p:spPr>
          <a:xfrm>
            <a:off x="713275" y="1185725"/>
            <a:ext cx="7944588" cy="3730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are the sales and orders using single chart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ich month got the highest sales and orders?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o purchased more men , men or women in the year 2022?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at are the different order status in 2022?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st top 10 states contributing to the sale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lation between age and gender based on number of order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ich channel is contributing to maximum sales?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ich is the Highest selling category?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9ABDD2-EADF-C40C-E75A-F3379A6A4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9326" y="423760"/>
            <a:ext cx="2625348" cy="740700"/>
          </a:xfrm>
        </p:spPr>
        <p:txBody>
          <a:bodyPr/>
          <a:lstStyle/>
          <a:p>
            <a:r>
              <a:rPr lang="en-US" dirty="0"/>
              <a:t>INSIGH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1FC875-4723-7C46-837B-15CB3C7E25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275" y="1645999"/>
            <a:ext cx="7717500" cy="3236551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ich is the Highest selling category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tegory “Set “ has the maximum contribution in sales (~50%)</a:t>
            </a:r>
          </a:p>
          <a:p>
            <a:pPr marL="0" indent="0">
              <a:lnSpc>
                <a:spcPct val="150000"/>
              </a:lnSpc>
              <a:buNone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at is the distribution of product sales within a specific category, and how does it reflect the frequency or popularity of different items in that category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 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Medium-sized products account for the largest share of sales, contributing to 18% of the total revenue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52400" indent="0">
              <a:buNone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971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2"/>
          <p:cNvSpPr/>
          <p:nvPr/>
        </p:nvSpPr>
        <p:spPr>
          <a:xfrm>
            <a:off x="3791500" y="1130325"/>
            <a:ext cx="633300" cy="633300"/>
          </a:xfrm>
          <a:prstGeom prst="ellipse">
            <a:avLst/>
          </a:pr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0" name="Google Shape;270;p22"/>
          <p:cNvSpPr/>
          <p:nvPr/>
        </p:nvSpPr>
        <p:spPr>
          <a:xfrm>
            <a:off x="3791475" y="1841613"/>
            <a:ext cx="633300" cy="633300"/>
          </a:xfrm>
          <a:prstGeom prst="ellipse">
            <a:avLst/>
          </a:prstGeom>
          <a:solidFill>
            <a:srgbClr val="FED002">
              <a:alpha val="4464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p22"/>
          <p:cNvSpPr/>
          <p:nvPr/>
        </p:nvSpPr>
        <p:spPr>
          <a:xfrm>
            <a:off x="3791475" y="2552888"/>
            <a:ext cx="633300" cy="633300"/>
          </a:xfrm>
          <a:prstGeom prst="ellipse">
            <a:avLst/>
          </a:prstGeom>
          <a:solidFill>
            <a:srgbClr val="01967A">
              <a:alpha val="4881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2" name="Google Shape;272;p22"/>
          <p:cNvSpPr/>
          <p:nvPr/>
        </p:nvSpPr>
        <p:spPr>
          <a:xfrm>
            <a:off x="3791475" y="3264150"/>
            <a:ext cx="633300" cy="633300"/>
          </a:xfrm>
          <a:prstGeom prst="ellipse">
            <a:avLst/>
          </a:prstGeom>
          <a:solidFill>
            <a:srgbClr val="7CACE1">
              <a:alpha val="470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4" name="Google Shape;274;p22"/>
          <p:cNvSpPr txBox="1">
            <a:spLocks noGrp="1"/>
          </p:cNvSpPr>
          <p:nvPr>
            <p:ph type="title"/>
          </p:nvPr>
        </p:nvSpPr>
        <p:spPr>
          <a:xfrm>
            <a:off x="3595059" y="237462"/>
            <a:ext cx="2903006" cy="740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dirty="0"/>
              <a:t>INSIGHTS</a:t>
            </a:r>
            <a:endParaRPr dirty="0"/>
          </a:p>
        </p:txBody>
      </p:sp>
      <p:sp>
        <p:nvSpPr>
          <p:cNvPr id="275" name="Google Shape;275;p22"/>
          <p:cNvSpPr/>
          <p:nvPr/>
        </p:nvSpPr>
        <p:spPr>
          <a:xfrm>
            <a:off x="60450" y="1194957"/>
            <a:ext cx="2639900" cy="779700"/>
          </a:xfrm>
          <a:prstGeom prst="roundRect">
            <a:avLst>
              <a:gd name="adj" fmla="val 500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>
              <a:solidFill>
                <a:srgbClr val="59554E"/>
              </a:solidFill>
              <a:latin typeface="Baloo 2"/>
              <a:ea typeface="Baloo 2"/>
              <a:cs typeface="Baloo 2"/>
              <a:sym typeface="Baloo 2"/>
            </a:endParaRPr>
          </a:p>
        </p:txBody>
      </p:sp>
      <p:sp>
        <p:nvSpPr>
          <p:cNvPr id="278" name="Google Shape;278;p22"/>
          <p:cNvSpPr txBox="1"/>
          <p:nvPr/>
        </p:nvSpPr>
        <p:spPr>
          <a:xfrm>
            <a:off x="4452042" y="1100475"/>
            <a:ext cx="4691958" cy="3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Times New Roman" panose="02020603050405020304" pitchFamily="18" charset="0"/>
                <a:ea typeface="Open Sans"/>
                <a:cs typeface="Times New Roman" panose="02020603050405020304" pitchFamily="18" charset="0"/>
                <a:sym typeface="Open Sans"/>
              </a:rPr>
              <a:t>Women are more likely to purchase compared to men in 2022 (~65%)</a:t>
            </a:r>
            <a:endParaRPr dirty="0">
              <a:solidFill>
                <a:schemeClr val="dk1"/>
              </a:solidFill>
              <a:latin typeface="Times New Roman" panose="02020603050405020304" pitchFamily="18" charset="0"/>
              <a:ea typeface="Open Sans"/>
              <a:cs typeface="Times New Roman" panose="02020603050405020304" pitchFamily="18" charset="0"/>
              <a:sym typeface="Open Sans"/>
            </a:endParaRPr>
          </a:p>
        </p:txBody>
      </p:sp>
      <p:sp>
        <p:nvSpPr>
          <p:cNvPr id="279" name="Google Shape;279;p22"/>
          <p:cNvSpPr txBox="1"/>
          <p:nvPr/>
        </p:nvSpPr>
        <p:spPr>
          <a:xfrm>
            <a:off x="713275" y="1203125"/>
            <a:ext cx="2132400" cy="7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91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 dirty="0">
                <a:solidFill>
                  <a:schemeClr val="accent4"/>
                </a:solidFill>
                <a:latin typeface="Baloo 2"/>
                <a:ea typeface="Baloo 2"/>
                <a:cs typeface="Baloo 2"/>
                <a:sym typeface="Baloo 2"/>
              </a:rPr>
              <a:t>RESULTS</a:t>
            </a:r>
            <a:endParaRPr sz="2400" b="1" dirty="0">
              <a:solidFill>
                <a:schemeClr val="accent4"/>
              </a:solidFill>
              <a:latin typeface="Baloo 2"/>
              <a:ea typeface="Baloo 2"/>
              <a:cs typeface="Baloo 2"/>
              <a:sym typeface="Baloo 2"/>
            </a:endParaRPr>
          </a:p>
        </p:txBody>
      </p:sp>
      <p:sp>
        <p:nvSpPr>
          <p:cNvPr id="284" name="Google Shape;284;p22"/>
          <p:cNvSpPr txBox="1"/>
          <p:nvPr/>
        </p:nvSpPr>
        <p:spPr>
          <a:xfrm>
            <a:off x="4600010" y="1850682"/>
            <a:ext cx="4439857" cy="3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Times New Roman" panose="02020603050405020304" pitchFamily="18" charset="0"/>
                <a:ea typeface="Open Sans"/>
                <a:cs typeface="Times New Roman" panose="02020603050405020304" pitchFamily="18" charset="0"/>
                <a:sym typeface="Open Sans"/>
              </a:rPr>
              <a:t>Maharashtra,Karnatak and Uttar Pradesh are the top 3 states (~35%)</a:t>
            </a:r>
            <a:endParaRPr dirty="0">
              <a:solidFill>
                <a:schemeClr val="dk1"/>
              </a:solidFill>
              <a:latin typeface="Times New Roman" panose="02020603050405020304" pitchFamily="18" charset="0"/>
              <a:ea typeface="Open Sans"/>
              <a:cs typeface="Times New Roman" panose="02020603050405020304" pitchFamily="18" charset="0"/>
              <a:sym typeface="Open Sans"/>
            </a:endParaRPr>
          </a:p>
        </p:txBody>
      </p:sp>
      <p:sp>
        <p:nvSpPr>
          <p:cNvPr id="287" name="Google Shape;287;p22"/>
          <p:cNvSpPr txBox="1"/>
          <p:nvPr/>
        </p:nvSpPr>
        <p:spPr>
          <a:xfrm>
            <a:off x="4600010" y="2550132"/>
            <a:ext cx="4300922" cy="3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dk1"/>
                </a:solidFill>
                <a:latin typeface="Times New Roman" panose="02020603050405020304" pitchFamily="18" charset="0"/>
                <a:ea typeface="Open Sans"/>
                <a:cs typeface="Times New Roman" panose="02020603050405020304" pitchFamily="18" charset="0"/>
                <a:sym typeface="Open Sans"/>
              </a:rPr>
              <a:t>Adult age group (30-49 yrs) has maximum contribution </a:t>
            </a:r>
            <a:r>
              <a:rPr lang="en-US" dirty="0">
                <a:solidFill>
                  <a:schemeClr val="dk1"/>
                </a:solidFill>
                <a:latin typeface="Times New Roman" panose="02020603050405020304" pitchFamily="18" charset="0"/>
                <a:ea typeface="Open Sans"/>
                <a:cs typeface="Times New Roman" panose="02020603050405020304" pitchFamily="18" charset="0"/>
                <a:sym typeface="Open Sans"/>
              </a:rPr>
              <a:t>in sales</a:t>
            </a:r>
            <a:endParaRPr dirty="0">
              <a:solidFill>
                <a:schemeClr val="dk1"/>
              </a:solidFill>
              <a:latin typeface="Times New Roman" panose="02020603050405020304" pitchFamily="18" charset="0"/>
              <a:ea typeface="Open Sans"/>
              <a:cs typeface="Times New Roman" panose="02020603050405020304" pitchFamily="18" charset="0"/>
              <a:sym typeface="Open Sans"/>
            </a:endParaRPr>
          </a:p>
        </p:txBody>
      </p:sp>
      <p:sp>
        <p:nvSpPr>
          <p:cNvPr id="290" name="Google Shape;290;p22"/>
          <p:cNvSpPr txBox="1"/>
          <p:nvPr/>
        </p:nvSpPr>
        <p:spPr>
          <a:xfrm>
            <a:off x="4600009" y="3264150"/>
            <a:ext cx="4300921" cy="3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dirty="0">
                <a:solidFill>
                  <a:schemeClr val="dk1"/>
                </a:solidFill>
                <a:latin typeface="Times New Roman" panose="02020603050405020304" pitchFamily="18" charset="0"/>
                <a:ea typeface="Open Sans"/>
                <a:cs typeface="Times New Roman" panose="02020603050405020304" pitchFamily="18" charset="0"/>
                <a:sym typeface="Open Sans"/>
              </a:rPr>
              <a:t>Amazon,Flipkart and Myntra are the channels that has maximum contribution (~80%)</a:t>
            </a:r>
            <a:endParaRPr dirty="0">
              <a:solidFill>
                <a:schemeClr val="dk1"/>
              </a:solidFill>
              <a:latin typeface="Times New Roman" panose="02020603050405020304" pitchFamily="18" charset="0"/>
              <a:ea typeface="Open Sans"/>
              <a:cs typeface="Times New Roman" panose="02020603050405020304" pitchFamily="18" charset="0"/>
              <a:sym typeface="Open Sans"/>
            </a:endParaRPr>
          </a:p>
        </p:txBody>
      </p:sp>
      <p:cxnSp>
        <p:nvCxnSpPr>
          <p:cNvPr id="294" name="Google Shape;294;p22"/>
          <p:cNvCxnSpPr>
            <a:stCxn id="279" idx="3"/>
            <a:endCxn id="269" idx="2"/>
          </p:cNvCxnSpPr>
          <p:nvPr/>
        </p:nvCxnSpPr>
        <p:spPr>
          <a:xfrm rot="10800000" flipH="1">
            <a:off x="2845675" y="1447025"/>
            <a:ext cx="945900" cy="135900"/>
          </a:xfrm>
          <a:prstGeom prst="bentConnector3">
            <a:avLst>
              <a:gd name="adj1" fmla="val 49996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95" name="Google Shape;295;p22"/>
          <p:cNvCxnSpPr>
            <a:stCxn id="279" idx="3"/>
            <a:endCxn id="270" idx="2"/>
          </p:cNvCxnSpPr>
          <p:nvPr/>
        </p:nvCxnSpPr>
        <p:spPr>
          <a:xfrm>
            <a:off x="2845675" y="1582925"/>
            <a:ext cx="945900" cy="575400"/>
          </a:xfrm>
          <a:prstGeom prst="bentConnector3">
            <a:avLst>
              <a:gd name="adj1" fmla="val 49995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96" name="Google Shape;296;p22"/>
          <p:cNvCxnSpPr>
            <a:stCxn id="279" idx="3"/>
            <a:endCxn id="271" idx="2"/>
          </p:cNvCxnSpPr>
          <p:nvPr/>
        </p:nvCxnSpPr>
        <p:spPr>
          <a:xfrm>
            <a:off x="2845675" y="1582925"/>
            <a:ext cx="945900" cy="1286700"/>
          </a:xfrm>
          <a:prstGeom prst="bentConnector3">
            <a:avLst>
              <a:gd name="adj1" fmla="val 49995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97" name="Google Shape;297;p22"/>
          <p:cNvCxnSpPr>
            <a:stCxn id="279" idx="3"/>
            <a:endCxn id="272" idx="2"/>
          </p:cNvCxnSpPr>
          <p:nvPr/>
        </p:nvCxnSpPr>
        <p:spPr>
          <a:xfrm>
            <a:off x="2845675" y="1582925"/>
            <a:ext cx="945900" cy="1998000"/>
          </a:xfrm>
          <a:prstGeom prst="bentConnector3">
            <a:avLst>
              <a:gd name="adj1" fmla="val 49995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299" name="Google Shape;299;p22"/>
          <p:cNvGrpSpPr/>
          <p:nvPr/>
        </p:nvGrpSpPr>
        <p:grpSpPr>
          <a:xfrm>
            <a:off x="3923633" y="1265144"/>
            <a:ext cx="368987" cy="363666"/>
            <a:chOff x="-64774725" y="1916550"/>
            <a:chExt cx="319000" cy="314400"/>
          </a:xfrm>
        </p:grpSpPr>
        <p:sp>
          <p:nvSpPr>
            <p:cNvPr id="300" name="Google Shape;300;p22"/>
            <p:cNvSpPr/>
            <p:nvPr/>
          </p:nvSpPr>
          <p:spPr>
            <a:xfrm>
              <a:off x="-64774725" y="1916550"/>
              <a:ext cx="319000" cy="314400"/>
            </a:xfrm>
            <a:custGeom>
              <a:avLst/>
              <a:gdLst/>
              <a:ahLst/>
              <a:cxnLst/>
              <a:rect l="l" t="t" r="r" b="b"/>
              <a:pathLst>
                <a:path w="12760" h="12576" extrusionOk="0">
                  <a:moveTo>
                    <a:pt x="11436" y="856"/>
                  </a:moveTo>
                  <a:cubicBezTo>
                    <a:pt x="11562" y="856"/>
                    <a:pt x="11657" y="888"/>
                    <a:pt x="11783" y="951"/>
                  </a:cubicBezTo>
                  <a:cubicBezTo>
                    <a:pt x="11877" y="1077"/>
                    <a:pt x="11940" y="1203"/>
                    <a:pt x="11909" y="1329"/>
                  </a:cubicBezTo>
                  <a:cubicBezTo>
                    <a:pt x="11814" y="2431"/>
                    <a:pt x="11562" y="3440"/>
                    <a:pt x="11090" y="4416"/>
                  </a:cubicBezTo>
                  <a:lnTo>
                    <a:pt x="8317" y="1675"/>
                  </a:lnTo>
                  <a:cubicBezTo>
                    <a:pt x="9263" y="1234"/>
                    <a:pt x="10334" y="951"/>
                    <a:pt x="11436" y="856"/>
                  </a:cubicBezTo>
                  <a:close/>
                  <a:moveTo>
                    <a:pt x="3781" y="4542"/>
                  </a:moveTo>
                  <a:lnTo>
                    <a:pt x="3781" y="4542"/>
                  </a:lnTo>
                  <a:cubicBezTo>
                    <a:pt x="3529" y="4983"/>
                    <a:pt x="3245" y="5456"/>
                    <a:pt x="3056" y="5960"/>
                  </a:cubicBezTo>
                  <a:cubicBezTo>
                    <a:pt x="2878" y="5949"/>
                    <a:pt x="2699" y="5942"/>
                    <a:pt x="2522" y="5942"/>
                  </a:cubicBezTo>
                  <a:cubicBezTo>
                    <a:pt x="2167" y="5942"/>
                    <a:pt x="1817" y="5970"/>
                    <a:pt x="1481" y="6054"/>
                  </a:cubicBezTo>
                  <a:cubicBezTo>
                    <a:pt x="1544" y="5928"/>
                    <a:pt x="1670" y="5802"/>
                    <a:pt x="1733" y="5739"/>
                  </a:cubicBezTo>
                  <a:cubicBezTo>
                    <a:pt x="2331" y="5141"/>
                    <a:pt x="2993" y="4731"/>
                    <a:pt x="3781" y="4542"/>
                  </a:cubicBezTo>
                  <a:close/>
                  <a:moveTo>
                    <a:pt x="7561" y="2022"/>
                  </a:moveTo>
                  <a:lnTo>
                    <a:pt x="10680" y="5141"/>
                  </a:lnTo>
                  <a:cubicBezTo>
                    <a:pt x="9546" y="7157"/>
                    <a:pt x="7687" y="8669"/>
                    <a:pt x="5419" y="9331"/>
                  </a:cubicBezTo>
                  <a:lnTo>
                    <a:pt x="3403" y="7346"/>
                  </a:lnTo>
                  <a:cubicBezTo>
                    <a:pt x="4064" y="5109"/>
                    <a:pt x="5576" y="3219"/>
                    <a:pt x="7561" y="2022"/>
                  </a:cubicBezTo>
                  <a:close/>
                  <a:moveTo>
                    <a:pt x="2899" y="8008"/>
                  </a:moveTo>
                  <a:lnTo>
                    <a:pt x="4789" y="9898"/>
                  </a:lnTo>
                  <a:lnTo>
                    <a:pt x="4316" y="10623"/>
                  </a:lnTo>
                  <a:lnTo>
                    <a:pt x="2142" y="8449"/>
                  </a:lnTo>
                  <a:lnTo>
                    <a:pt x="2899" y="8008"/>
                  </a:lnTo>
                  <a:close/>
                  <a:moveTo>
                    <a:pt x="2363" y="9867"/>
                  </a:moveTo>
                  <a:lnTo>
                    <a:pt x="2899" y="10371"/>
                  </a:lnTo>
                  <a:cubicBezTo>
                    <a:pt x="2741" y="10497"/>
                    <a:pt x="2520" y="10654"/>
                    <a:pt x="2300" y="10780"/>
                  </a:cubicBezTo>
                  <a:cubicBezTo>
                    <a:pt x="1985" y="10969"/>
                    <a:pt x="1733" y="11095"/>
                    <a:pt x="1638" y="11127"/>
                  </a:cubicBezTo>
                  <a:cubicBezTo>
                    <a:pt x="1701" y="10969"/>
                    <a:pt x="1796" y="10780"/>
                    <a:pt x="1985" y="10465"/>
                  </a:cubicBezTo>
                  <a:cubicBezTo>
                    <a:pt x="2142" y="10213"/>
                    <a:pt x="2268" y="10024"/>
                    <a:pt x="2363" y="9867"/>
                  </a:cubicBezTo>
                  <a:close/>
                  <a:moveTo>
                    <a:pt x="8191" y="8984"/>
                  </a:moveTo>
                  <a:lnTo>
                    <a:pt x="8191" y="8984"/>
                  </a:lnTo>
                  <a:cubicBezTo>
                    <a:pt x="7971" y="9867"/>
                    <a:pt x="7467" y="10686"/>
                    <a:pt x="6711" y="11284"/>
                  </a:cubicBezTo>
                  <a:cubicBezTo>
                    <a:pt x="6837" y="10749"/>
                    <a:pt x="6837" y="10245"/>
                    <a:pt x="6774" y="9741"/>
                  </a:cubicBezTo>
                  <a:cubicBezTo>
                    <a:pt x="7309" y="9551"/>
                    <a:pt x="7782" y="9268"/>
                    <a:pt x="8191" y="8984"/>
                  </a:cubicBezTo>
                  <a:close/>
                  <a:moveTo>
                    <a:pt x="11509" y="1"/>
                  </a:moveTo>
                  <a:cubicBezTo>
                    <a:pt x="11474" y="1"/>
                    <a:pt x="11440" y="2"/>
                    <a:pt x="11405" y="6"/>
                  </a:cubicBezTo>
                  <a:cubicBezTo>
                    <a:pt x="10365" y="100"/>
                    <a:pt x="9389" y="321"/>
                    <a:pt x="8412" y="730"/>
                  </a:cubicBezTo>
                  <a:cubicBezTo>
                    <a:pt x="7498" y="1077"/>
                    <a:pt x="6616" y="1644"/>
                    <a:pt x="5797" y="2274"/>
                  </a:cubicBezTo>
                  <a:cubicBezTo>
                    <a:pt x="5324" y="2652"/>
                    <a:pt x="4852" y="3093"/>
                    <a:pt x="4474" y="3566"/>
                  </a:cubicBezTo>
                  <a:cubicBezTo>
                    <a:pt x="3245" y="3629"/>
                    <a:pt x="2048" y="4196"/>
                    <a:pt x="1166" y="5109"/>
                  </a:cubicBezTo>
                  <a:cubicBezTo>
                    <a:pt x="725" y="5519"/>
                    <a:pt x="378" y="6054"/>
                    <a:pt x="95" y="6590"/>
                  </a:cubicBezTo>
                  <a:cubicBezTo>
                    <a:pt x="0" y="6748"/>
                    <a:pt x="63" y="6937"/>
                    <a:pt x="158" y="7063"/>
                  </a:cubicBezTo>
                  <a:cubicBezTo>
                    <a:pt x="252" y="7157"/>
                    <a:pt x="378" y="7189"/>
                    <a:pt x="441" y="7189"/>
                  </a:cubicBezTo>
                  <a:cubicBezTo>
                    <a:pt x="536" y="7189"/>
                    <a:pt x="567" y="7189"/>
                    <a:pt x="630" y="7157"/>
                  </a:cubicBezTo>
                  <a:cubicBezTo>
                    <a:pt x="1198" y="6873"/>
                    <a:pt x="1842" y="6743"/>
                    <a:pt x="2471" y="6743"/>
                  </a:cubicBezTo>
                  <a:cubicBezTo>
                    <a:pt x="2540" y="6743"/>
                    <a:pt x="2609" y="6744"/>
                    <a:pt x="2678" y="6748"/>
                  </a:cubicBezTo>
                  <a:cubicBezTo>
                    <a:pt x="2647" y="6905"/>
                    <a:pt x="2615" y="7031"/>
                    <a:pt x="2584" y="7189"/>
                  </a:cubicBezTo>
                  <a:lnTo>
                    <a:pt x="1229" y="7976"/>
                  </a:lnTo>
                  <a:cubicBezTo>
                    <a:pt x="1008" y="8134"/>
                    <a:pt x="945" y="8449"/>
                    <a:pt x="1166" y="8606"/>
                  </a:cubicBezTo>
                  <a:lnTo>
                    <a:pt x="1733" y="9173"/>
                  </a:lnTo>
                  <a:cubicBezTo>
                    <a:pt x="1544" y="9425"/>
                    <a:pt x="1323" y="9772"/>
                    <a:pt x="1103" y="10119"/>
                  </a:cubicBezTo>
                  <a:cubicBezTo>
                    <a:pt x="945" y="10465"/>
                    <a:pt x="788" y="10717"/>
                    <a:pt x="725" y="10906"/>
                  </a:cubicBezTo>
                  <a:cubicBezTo>
                    <a:pt x="599" y="11316"/>
                    <a:pt x="630" y="11599"/>
                    <a:pt x="851" y="11788"/>
                  </a:cubicBezTo>
                  <a:cubicBezTo>
                    <a:pt x="981" y="11918"/>
                    <a:pt x="1144" y="11961"/>
                    <a:pt x="1320" y="11961"/>
                  </a:cubicBezTo>
                  <a:cubicBezTo>
                    <a:pt x="1443" y="11961"/>
                    <a:pt x="1572" y="11940"/>
                    <a:pt x="1701" y="11914"/>
                  </a:cubicBezTo>
                  <a:cubicBezTo>
                    <a:pt x="1953" y="11820"/>
                    <a:pt x="2174" y="11694"/>
                    <a:pt x="2489" y="11505"/>
                  </a:cubicBezTo>
                  <a:cubicBezTo>
                    <a:pt x="2836" y="11316"/>
                    <a:pt x="3151" y="11095"/>
                    <a:pt x="3434" y="10875"/>
                  </a:cubicBezTo>
                  <a:lnTo>
                    <a:pt x="4033" y="11473"/>
                  </a:lnTo>
                  <a:cubicBezTo>
                    <a:pt x="4116" y="11557"/>
                    <a:pt x="4225" y="11597"/>
                    <a:pt x="4330" y="11597"/>
                  </a:cubicBezTo>
                  <a:cubicBezTo>
                    <a:pt x="4464" y="11597"/>
                    <a:pt x="4593" y="11533"/>
                    <a:pt x="4663" y="11410"/>
                  </a:cubicBezTo>
                  <a:lnTo>
                    <a:pt x="5450" y="10056"/>
                  </a:lnTo>
                  <a:cubicBezTo>
                    <a:pt x="5608" y="10024"/>
                    <a:pt x="5734" y="9993"/>
                    <a:pt x="5892" y="9930"/>
                  </a:cubicBezTo>
                  <a:lnTo>
                    <a:pt x="5892" y="9930"/>
                  </a:lnTo>
                  <a:cubicBezTo>
                    <a:pt x="5923" y="10591"/>
                    <a:pt x="5797" y="11316"/>
                    <a:pt x="5482" y="11977"/>
                  </a:cubicBezTo>
                  <a:cubicBezTo>
                    <a:pt x="5419" y="12135"/>
                    <a:pt x="5450" y="12324"/>
                    <a:pt x="5576" y="12450"/>
                  </a:cubicBezTo>
                  <a:cubicBezTo>
                    <a:pt x="5639" y="12534"/>
                    <a:pt x="5759" y="12576"/>
                    <a:pt x="5878" y="12576"/>
                  </a:cubicBezTo>
                  <a:cubicBezTo>
                    <a:pt x="5937" y="12576"/>
                    <a:pt x="5997" y="12565"/>
                    <a:pt x="6049" y="12544"/>
                  </a:cubicBezTo>
                  <a:cubicBezTo>
                    <a:pt x="6585" y="12261"/>
                    <a:pt x="7089" y="11914"/>
                    <a:pt x="7530" y="11473"/>
                  </a:cubicBezTo>
                  <a:cubicBezTo>
                    <a:pt x="8443" y="10560"/>
                    <a:pt x="8979" y="9394"/>
                    <a:pt x="9074" y="8165"/>
                  </a:cubicBezTo>
                  <a:cubicBezTo>
                    <a:pt x="9546" y="7756"/>
                    <a:pt x="9987" y="7346"/>
                    <a:pt x="10365" y="6811"/>
                  </a:cubicBezTo>
                  <a:cubicBezTo>
                    <a:pt x="11027" y="5991"/>
                    <a:pt x="11562" y="5141"/>
                    <a:pt x="11940" y="4227"/>
                  </a:cubicBezTo>
                  <a:cubicBezTo>
                    <a:pt x="12350" y="3282"/>
                    <a:pt x="12571" y="2242"/>
                    <a:pt x="12665" y="1234"/>
                  </a:cubicBezTo>
                  <a:cubicBezTo>
                    <a:pt x="12760" y="1014"/>
                    <a:pt x="12665" y="636"/>
                    <a:pt x="12382" y="384"/>
                  </a:cubicBezTo>
                  <a:cubicBezTo>
                    <a:pt x="12126" y="128"/>
                    <a:pt x="11820" y="1"/>
                    <a:pt x="1150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301;p22"/>
            <p:cNvSpPr/>
            <p:nvPr/>
          </p:nvSpPr>
          <p:spPr>
            <a:xfrm>
              <a:off x="-64636900" y="2010600"/>
              <a:ext cx="89800" cy="82525"/>
            </a:xfrm>
            <a:custGeom>
              <a:avLst/>
              <a:gdLst/>
              <a:ahLst/>
              <a:cxnLst/>
              <a:rect l="l" t="t" r="r" b="b"/>
              <a:pathLst>
                <a:path w="3592" h="3301" extrusionOk="0">
                  <a:moveTo>
                    <a:pt x="1828" y="827"/>
                  </a:moveTo>
                  <a:cubicBezTo>
                    <a:pt x="2048" y="827"/>
                    <a:pt x="2269" y="906"/>
                    <a:pt x="2426" y="1064"/>
                  </a:cubicBezTo>
                  <a:cubicBezTo>
                    <a:pt x="2741" y="1410"/>
                    <a:pt x="2741" y="1914"/>
                    <a:pt x="2426" y="2229"/>
                  </a:cubicBezTo>
                  <a:cubicBezTo>
                    <a:pt x="2269" y="2387"/>
                    <a:pt x="2048" y="2466"/>
                    <a:pt x="1828" y="2466"/>
                  </a:cubicBezTo>
                  <a:cubicBezTo>
                    <a:pt x="1607" y="2466"/>
                    <a:pt x="1387" y="2387"/>
                    <a:pt x="1229" y="2229"/>
                  </a:cubicBezTo>
                  <a:cubicBezTo>
                    <a:pt x="914" y="1914"/>
                    <a:pt x="914" y="1379"/>
                    <a:pt x="1229" y="1064"/>
                  </a:cubicBezTo>
                  <a:cubicBezTo>
                    <a:pt x="1387" y="906"/>
                    <a:pt x="1607" y="827"/>
                    <a:pt x="1828" y="827"/>
                  </a:cubicBezTo>
                  <a:close/>
                  <a:moveTo>
                    <a:pt x="1820" y="0"/>
                  </a:moveTo>
                  <a:cubicBezTo>
                    <a:pt x="1402" y="0"/>
                    <a:pt x="977" y="166"/>
                    <a:pt x="631" y="497"/>
                  </a:cubicBezTo>
                  <a:cubicBezTo>
                    <a:pt x="0" y="1127"/>
                    <a:pt x="0" y="2198"/>
                    <a:pt x="631" y="2828"/>
                  </a:cubicBezTo>
                  <a:cubicBezTo>
                    <a:pt x="946" y="3143"/>
                    <a:pt x="1371" y="3301"/>
                    <a:pt x="1796" y="3301"/>
                  </a:cubicBezTo>
                  <a:cubicBezTo>
                    <a:pt x="2222" y="3301"/>
                    <a:pt x="2647" y="3143"/>
                    <a:pt x="2962" y="2828"/>
                  </a:cubicBezTo>
                  <a:cubicBezTo>
                    <a:pt x="3592" y="2198"/>
                    <a:pt x="3592" y="1127"/>
                    <a:pt x="2962" y="497"/>
                  </a:cubicBezTo>
                  <a:cubicBezTo>
                    <a:pt x="2647" y="166"/>
                    <a:pt x="2237" y="0"/>
                    <a:pt x="182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02" name="Google Shape;302;p22"/>
          <p:cNvGrpSpPr/>
          <p:nvPr/>
        </p:nvGrpSpPr>
        <p:grpSpPr>
          <a:xfrm>
            <a:off x="3916825" y="1974657"/>
            <a:ext cx="382665" cy="367194"/>
            <a:chOff x="-62890750" y="2296300"/>
            <a:chExt cx="330825" cy="317450"/>
          </a:xfrm>
        </p:grpSpPr>
        <p:sp>
          <p:nvSpPr>
            <p:cNvPr id="303" name="Google Shape;303;p22"/>
            <p:cNvSpPr/>
            <p:nvPr/>
          </p:nvSpPr>
          <p:spPr>
            <a:xfrm>
              <a:off x="-62890750" y="2296300"/>
              <a:ext cx="313500" cy="195375"/>
            </a:xfrm>
            <a:custGeom>
              <a:avLst/>
              <a:gdLst/>
              <a:ahLst/>
              <a:cxnLst/>
              <a:rect l="l" t="t" r="r" b="b"/>
              <a:pathLst>
                <a:path w="12540" h="7815" extrusionOk="0">
                  <a:moveTo>
                    <a:pt x="11437" y="2080"/>
                  </a:moveTo>
                  <a:lnTo>
                    <a:pt x="11658" y="2931"/>
                  </a:lnTo>
                  <a:lnTo>
                    <a:pt x="10776" y="2742"/>
                  </a:lnTo>
                  <a:lnTo>
                    <a:pt x="11437" y="2080"/>
                  </a:lnTo>
                  <a:close/>
                  <a:moveTo>
                    <a:pt x="6617" y="1"/>
                  </a:moveTo>
                  <a:cubicBezTo>
                    <a:pt x="4916" y="1"/>
                    <a:pt x="3340" y="662"/>
                    <a:pt x="2112" y="1828"/>
                  </a:cubicBezTo>
                  <a:cubicBezTo>
                    <a:pt x="663" y="3277"/>
                    <a:pt x="1" y="5420"/>
                    <a:pt x="379" y="7467"/>
                  </a:cubicBezTo>
                  <a:cubicBezTo>
                    <a:pt x="442" y="7656"/>
                    <a:pt x="568" y="7814"/>
                    <a:pt x="789" y="7814"/>
                  </a:cubicBezTo>
                  <a:lnTo>
                    <a:pt x="852" y="7814"/>
                  </a:lnTo>
                  <a:cubicBezTo>
                    <a:pt x="1104" y="7783"/>
                    <a:pt x="1198" y="7562"/>
                    <a:pt x="1167" y="7341"/>
                  </a:cubicBezTo>
                  <a:cubicBezTo>
                    <a:pt x="852" y="5577"/>
                    <a:pt x="1419" y="3718"/>
                    <a:pt x="2710" y="2458"/>
                  </a:cubicBezTo>
                  <a:cubicBezTo>
                    <a:pt x="3719" y="1450"/>
                    <a:pt x="5136" y="851"/>
                    <a:pt x="6617" y="851"/>
                  </a:cubicBezTo>
                  <a:cubicBezTo>
                    <a:pt x="7940" y="851"/>
                    <a:pt x="9200" y="1324"/>
                    <a:pt x="10177" y="2206"/>
                  </a:cubicBezTo>
                  <a:lnTo>
                    <a:pt x="9610" y="2773"/>
                  </a:lnTo>
                  <a:cubicBezTo>
                    <a:pt x="9484" y="2899"/>
                    <a:pt x="9452" y="3057"/>
                    <a:pt x="9484" y="3183"/>
                  </a:cubicBezTo>
                  <a:cubicBezTo>
                    <a:pt x="9515" y="3340"/>
                    <a:pt x="9641" y="3403"/>
                    <a:pt x="9799" y="3466"/>
                  </a:cubicBezTo>
                  <a:lnTo>
                    <a:pt x="12036" y="3939"/>
                  </a:lnTo>
                  <a:lnTo>
                    <a:pt x="12130" y="3939"/>
                  </a:lnTo>
                  <a:cubicBezTo>
                    <a:pt x="12225" y="3939"/>
                    <a:pt x="12319" y="3876"/>
                    <a:pt x="12382" y="3813"/>
                  </a:cubicBezTo>
                  <a:cubicBezTo>
                    <a:pt x="12508" y="3687"/>
                    <a:pt x="12540" y="3561"/>
                    <a:pt x="12508" y="3403"/>
                  </a:cubicBezTo>
                  <a:lnTo>
                    <a:pt x="12036" y="1167"/>
                  </a:lnTo>
                  <a:cubicBezTo>
                    <a:pt x="12004" y="1009"/>
                    <a:pt x="11878" y="883"/>
                    <a:pt x="11752" y="851"/>
                  </a:cubicBezTo>
                  <a:cubicBezTo>
                    <a:pt x="11715" y="844"/>
                    <a:pt x="11678" y="840"/>
                    <a:pt x="11642" y="840"/>
                  </a:cubicBezTo>
                  <a:cubicBezTo>
                    <a:pt x="11526" y="840"/>
                    <a:pt x="11422" y="881"/>
                    <a:pt x="11374" y="977"/>
                  </a:cubicBezTo>
                  <a:lnTo>
                    <a:pt x="10776" y="1576"/>
                  </a:lnTo>
                  <a:cubicBezTo>
                    <a:pt x="9641" y="536"/>
                    <a:pt x="8129" y="1"/>
                    <a:pt x="661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" name="Google Shape;304;p22"/>
            <p:cNvSpPr/>
            <p:nvPr/>
          </p:nvSpPr>
          <p:spPr>
            <a:xfrm>
              <a:off x="-62874975" y="2417475"/>
              <a:ext cx="315050" cy="196275"/>
            </a:xfrm>
            <a:custGeom>
              <a:avLst/>
              <a:gdLst/>
              <a:ahLst/>
              <a:cxnLst/>
              <a:rect l="l" t="t" r="r" b="b"/>
              <a:pathLst>
                <a:path w="12602" h="7851" extrusionOk="0">
                  <a:moveTo>
                    <a:pt x="977" y="4857"/>
                  </a:moveTo>
                  <a:lnTo>
                    <a:pt x="1827" y="5078"/>
                  </a:lnTo>
                  <a:lnTo>
                    <a:pt x="1166" y="5739"/>
                  </a:lnTo>
                  <a:lnTo>
                    <a:pt x="977" y="4857"/>
                  </a:lnTo>
                  <a:close/>
                  <a:moveTo>
                    <a:pt x="11779" y="1"/>
                  </a:moveTo>
                  <a:cubicBezTo>
                    <a:pt x="11759" y="1"/>
                    <a:pt x="11739" y="2"/>
                    <a:pt x="11720" y="6"/>
                  </a:cubicBezTo>
                  <a:cubicBezTo>
                    <a:pt x="11499" y="69"/>
                    <a:pt x="11373" y="289"/>
                    <a:pt x="11405" y="478"/>
                  </a:cubicBezTo>
                  <a:cubicBezTo>
                    <a:pt x="11720" y="2274"/>
                    <a:pt x="11184" y="4101"/>
                    <a:pt x="9861" y="5361"/>
                  </a:cubicBezTo>
                  <a:cubicBezTo>
                    <a:pt x="8853" y="6401"/>
                    <a:pt x="7435" y="7000"/>
                    <a:pt x="5986" y="7000"/>
                  </a:cubicBezTo>
                  <a:cubicBezTo>
                    <a:pt x="4631" y="7000"/>
                    <a:pt x="3371" y="6527"/>
                    <a:pt x="2394" y="5645"/>
                  </a:cubicBezTo>
                  <a:lnTo>
                    <a:pt x="2993" y="5046"/>
                  </a:lnTo>
                  <a:cubicBezTo>
                    <a:pt x="3088" y="4952"/>
                    <a:pt x="3151" y="4794"/>
                    <a:pt x="3088" y="4668"/>
                  </a:cubicBezTo>
                  <a:cubicBezTo>
                    <a:pt x="3056" y="4511"/>
                    <a:pt x="2962" y="4416"/>
                    <a:pt x="2772" y="4385"/>
                  </a:cubicBezTo>
                  <a:lnTo>
                    <a:pt x="536" y="3912"/>
                  </a:lnTo>
                  <a:cubicBezTo>
                    <a:pt x="506" y="3905"/>
                    <a:pt x="476" y="3901"/>
                    <a:pt x="446" y="3901"/>
                  </a:cubicBezTo>
                  <a:cubicBezTo>
                    <a:pt x="350" y="3901"/>
                    <a:pt x="254" y="3942"/>
                    <a:pt x="158" y="4038"/>
                  </a:cubicBezTo>
                  <a:cubicBezTo>
                    <a:pt x="32" y="4164"/>
                    <a:pt x="0" y="4290"/>
                    <a:pt x="32" y="4448"/>
                  </a:cubicBezTo>
                  <a:lnTo>
                    <a:pt x="504" y="6685"/>
                  </a:lnTo>
                  <a:cubicBezTo>
                    <a:pt x="536" y="6842"/>
                    <a:pt x="662" y="6937"/>
                    <a:pt x="788" y="7000"/>
                  </a:cubicBezTo>
                  <a:lnTo>
                    <a:pt x="882" y="7000"/>
                  </a:lnTo>
                  <a:cubicBezTo>
                    <a:pt x="1008" y="7000"/>
                    <a:pt x="1103" y="6968"/>
                    <a:pt x="1166" y="6874"/>
                  </a:cubicBezTo>
                  <a:lnTo>
                    <a:pt x="1764" y="6275"/>
                  </a:lnTo>
                  <a:cubicBezTo>
                    <a:pt x="2899" y="7315"/>
                    <a:pt x="4411" y="7850"/>
                    <a:pt x="5923" y="7850"/>
                  </a:cubicBezTo>
                  <a:cubicBezTo>
                    <a:pt x="7624" y="7850"/>
                    <a:pt x="9200" y="7189"/>
                    <a:pt x="10428" y="6023"/>
                  </a:cubicBezTo>
                  <a:cubicBezTo>
                    <a:pt x="11909" y="4511"/>
                    <a:pt x="12602" y="2400"/>
                    <a:pt x="12192" y="321"/>
                  </a:cubicBezTo>
                  <a:cubicBezTo>
                    <a:pt x="12164" y="123"/>
                    <a:pt x="11958" y="1"/>
                    <a:pt x="1177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" name="Google Shape;305;p22"/>
            <p:cNvSpPr/>
            <p:nvPr/>
          </p:nvSpPr>
          <p:spPr>
            <a:xfrm>
              <a:off x="-62822225" y="2357750"/>
              <a:ext cx="193000" cy="192975"/>
            </a:xfrm>
            <a:custGeom>
              <a:avLst/>
              <a:gdLst/>
              <a:ahLst/>
              <a:cxnLst/>
              <a:rect l="l" t="t" r="r" b="b"/>
              <a:pathLst>
                <a:path w="7720" h="7719" extrusionOk="0">
                  <a:moveTo>
                    <a:pt x="2238" y="1323"/>
                  </a:moveTo>
                  <a:lnTo>
                    <a:pt x="2238" y="1323"/>
                  </a:lnTo>
                  <a:cubicBezTo>
                    <a:pt x="2143" y="1544"/>
                    <a:pt x="2049" y="1827"/>
                    <a:pt x="1986" y="2111"/>
                  </a:cubicBezTo>
                  <a:lnTo>
                    <a:pt x="1419" y="2111"/>
                  </a:lnTo>
                  <a:cubicBezTo>
                    <a:pt x="1671" y="1796"/>
                    <a:pt x="1923" y="1512"/>
                    <a:pt x="2238" y="1323"/>
                  </a:cubicBezTo>
                  <a:close/>
                  <a:moveTo>
                    <a:pt x="3466" y="1040"/>
                  </a:moveTo>
                  <a:lnTo>
                    <a:pt x="3466" y="2111"/>
                  </a:lnTo>
                  <a:lnTo>
                    <a:pt x="2836" y="2111"/>
                  </a:lnTo>
                  <a:cubicBezTo>
                    <a:pt x="2994" y="1575"/>
                    <a:pt x="3246" y="1229"/>
                    <a:pt x="3466" y="1040"/>
                  </a:cubicBezTo>
                  <a:close/>
                  <a:moveTo>
                    <a:pt x="4254" y="1040"/>
                  </a:moveTo>
                  <a:cubicBezTo>
                    <a:pt x="4538" y="1229"/>
                    <a:pt x="4727" y="1575"/>
                    <a:pt x="4884" y="2111"/>
                  </a:cubicBezTo>
                  <a:lnTo>
                    <a:pt x="4254" y="2111"/>
                  </a:lnTo>
                  <a:lnTo>
                    <a:pt x="4254" y="1040"/>
                  </a:lnTo>
                  <a:close/>
                  <a:moveTo>
                    <a:pt x="5483" y="1323"/>
                  </a:moveTo>
                  <a:lnTo>
                    <a:pt x="5483" y="1323"/>
                  </a:lnTo>
                  <a:cubicBezTo>
                    <a:pt x="5798" y="1512"/>
                    <a:pt x="6081" y="1796"/>
                    <a:pt x="6302" y="2111"/>
                  </a:cubicBezTo>
                  <a:lnTo>
                    <a:pt x="5766" y="2111"/>
                  </a:lnTo>
                  <a:cubicBezTo>
                    <a:pt x="5672" y="1827"/>
                    <a:pt x="5609" y="1544"/>
                    <a:pt x="5483" y="1323"/>
                  </a:cubicBezTo>
                  <a:close/>
                  <a:moveTo>
                    <a:pt x="1765" y="2930"/>
                  </a:moveTo>
                  <a:cubicBezTo>
                    <a:pt x="1734" y="3245"/>
                    <a:pt x="1702" y="3560"/>
                    <a:pt x="1702" y="3875"/>
                  </a:cubicBezTo>
                  <a:cubicBezTo>
                    <a:pt x="1702" y="4190"/>
                    <a:pt x="1734" y="4537"/>
                    <a:pt x="1765" y="4820"/>
                  </a:cubicBezTo>
                  <a:lnTo>
                    <a:pt x="978" y="4820"/>
                  </a:lnTo>
                  <a:cubicBezTo>
                    <a:pt x="883" y="4537"/>
                    <a:pt x="820" y="4222"/>
                    <a:pt x="820" y="3875"/>
                  </a:cubicBezTo>
                  <a:cubicBezTo>
                    <a:pt x="820" y="3497"/>
                    <a:pt x="883" y="3214"/>
                    <a:pt x="978" y="2930"/>
                  </a:cubicBezTo>
                  <a:close/>
                  <a:moveTo>
                    <a:pt x="5136" y="2930"/>
                  </a:moveTo>
                  <a:cubicBezTo>
                    <a:pt x="5168" y="3245"/>
                    <a:pt x="5199" y="3560"/>
                    <a:pt x="5199" y="3875"/>
                  </a:cubicBezTo>
                  <a:cubicBezTo>
                    <a:pt x="5199" y="4222"/>
                    <a:pt x="5168" y="4537"/>
                    <a:pt x="5136" y="4820"/>
                  </a:cubicBezTo>
                  <a:lnTo>
                    <a:pt x="4286" y="4820"/>
                  </a:lnTo>
                  <a:lnTo>
                    <a:pt x="4286" y="2930"/>
                  </a:lnTo>
                  <a:close/>
                  <a:moveTo>
                    <a:pt x="6743" y="2930"/>
                  </a:moveTo>
                  <a:cubicBezTo>
                    <a:pt x="6869" y="3245"/>
                    <a:pt x="6900" y="3560"/>
                    <a:pt x="6900" y="3875"/>
                  </a:cubicBezTo>
                  <a:cubicBezTo>
                    <a:pt x="6900" y="4222"/>
                    <a:pt x="6869" y="4537"/>
                    <a:pt x="6743" y="4820"/>
                  </a:cubicBezTo>
                  <a:lnTo>
                    <a:pt x="5955" y="4820"/>
                  </a:lnTo>
                  <a:cubicBezTo>
                    <a:pt x="5987" y="4505"/>
                    <a:pt x="6018" y="4190"/>
                    <a:pt x="6018" y="3875"/>
                  </a:cubicBezTo>
                  <a:cubicBezTo>
                    <a:pt x="6018" y="3560"/>
                    <a:pt x="5987" y="3214"/>
                    <a:pt x="5955" y="2930"/>
                  </a:cubicBezTo>
                  <a:close/>
                  <a:moveTo>
                    <a:pt x="3466" y="2930"/>
                  </a:moveTo>
                  <a:lnTo>
                    <a:pt x="3466" y="4852"/>
                  </a:lnTo>
                  <a:lnTo>
                    <a:pt x="2647" y="4852"/>
                  </a:lnTo>
                  <a:cubicBezTo>
                    <a:pt x="2553" y="4537"/>
                    <a:pt x="2553" y="4222"/>
                    <a:pt x="2553" y="3875"/>
                  </a:cubicBezTo>
                  <a:cubicBezTo>
                    <a:pt x="2553" y="3497"/>
                    <a:pt x="2616" y="3214"/>
                    <a:pt x="2647" y="2930"/>
                  </a:cubicBezTo>
                  <a:close/>
                  <a:moveTo>
                    <a:pt x="6302" y="5640"/>
                  </a:moveTo>
                  <a:cubicBezTo>
                    <a:pt x="6081" y="5955"/>
                    <a:pt x="5798" y="6238"/>
                    <a:pt x="5483" y="6427"/>
                  </a:cubicBezTo>
                  <a:cubicBezTo>
                    <a:pt x="5609" y="6207"/>
                    <a:pt x="5672" y="5923"/>
                    <a:pt x="5766" y="5640"/>
                  </a:cubicBezTo>
                  <a:close/>
                  <a:moveTo>
                    <a:pt x="1986" y="5671"/>
                  </a:moveTo>
                  <a:cubicBezTo>
                    <a:pt x="2049" y="5955"/>
                    <a:pt x="2143" y="6238"/>
                    <a:pt x="2238" y="6459"/>
                  </a:cubicBezTo>
                  <a:cubicBezTo>
                    <a:pt x="1923" y="6238"/>
                    <a:pt x="1671" y="5955"/>
                    <a:pt x="1419" y="5671"/>
                  </a:cubicBezTo>
                  <a:close/>
                  <a:moveTo>
                    <a:pt x="4916" y="5640"/>
                  </a:moveTo>
                  <a:cubicBezTo>
                    <a:pt x="4727" y="6144"/>
                    <a:pt x="4538" y="6522"/>
                    <a:pt x="4286" y="6711"/>
                  </a:cubicBezTo>
                  <a:lnTo>
                    <a:pt x="4286" y="5640"/>
                  </a:lnTo>
                  <a:close/>
                  <a:moveTo>
                    <a:pt x="3466" y="5671"/>
                  </a:moveTo>
                  <a:lnTo>
                    <a:pt x="3466" y="6742"/>
                  </a:lnTo>
                  <a:cubicBezTo>
                    <a:pt x="3246" y="6553"/>
                    <a:pt x="2994" y="6144"/>
                    <a:pt x="2836" y="5671"/>
                  </a:cubicBezTo>
                  <a:close/>
                  <a:moveTo>
                    <a:pt x="3876" y="0"/>
                  </a:moveTo>
                  <a:cubicBezTo>
                    <a:pt x="2301" y="0"/>
                    <a:pt x="915" y="945"/>
                    <a:pt x="316" y="2332"/>
                  </a:cubicBezTo>
                  <a:cubicBezTo>
                    <a:pt x="127" y="2804"/>
                    <a:pt x="1" y="3308"/>
                    <a:pt x="1" y="3875"/>
                  </a:cubicBezTo>
                  <a:cubicBezTo>
                    <a:pt x="1" y="4411"/>
                    <a:pt x="127" y="4946"/>
                    <a:pt x="316" y="5419"/>
                  </a:cubicBezTo>
                  <a:cubicBezTo>
                    <a:pt x="915" y="6774"/>
                    <a:pt x="2301" y="7719"/>
                    <a:pt x="3876" y="7719"/>
                  </a:cubicBezTo>
                  <a:cubicBezTo>
                    <a:pt x="5451" y="7719"/>
                    <a:pt x="6806" y="6774"/>
                    <a:pt x="7405" y="5419"/>
                  </a:cubicBezTo>
                  <a:cubicBezTo>
                    <a:pt x="7594" y="4946"/>
                    <a:pt x="7720" y="4411"/>
                    <a:pt x="7720" y="3875"/>
                  </a:cubicBezTo>
                  <a:cubicBezTo>
                    <a:pt x="7720" y="3308"/>
                    <a:pt x="7594" y="2804"/>
                    <a:pt x="7405" y="2332"/>
                  </a:cubicBezTo>
                  <a:cubicBezTo>
                    <a:pt x="6806" y="945"/>
                    <a:pt x="5451" y="0"/>
                    <a:pt x="387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06" name="Google Shape;306;p22"/>
          <p:cNvGrpSpPr/>
          <p:nvPr/>
        </p:nvGrpSpPr>
        <p:grpSpPr>
          <a:xfrm>
            <a:off x="3924119" y="2702337"/>
            <a:ext cx="368091" cy="334402"/>
            <a:chOff x="-62518200" y="2692475"/>
            <a:chExt cx="318225" cy="289100"/>
          </a:xfrm>
        </p:grpSpPr>
        <p:sp>
          <p:nvSpPr>
            <p:cNvPr id="307" name="Google Shape;307;p22"/>
            <p:cNvSpPr/>
            <p:nvPr/>
          </p:nvSpPr>
          <p:spPr>
            <a:xfrm>
              <a:off x="-62518200" y="2692475"/>
              <a:ext cx="318225" cy="289100"/>
            </a:xfrm>
            <a:custGeom>
              <a:avLst/>
              <a:gdLst/>
              <a:ahLst/>
              <a:cxnLst/>
              <a:rect l="l" t="t" r="r" b="b"/>
              <a:pathLst>
                <a:path w="12729" h="11564" extrusionOk="0">
                  <a:moveTo>
                    <a:pt x="3750" y="851"/>
                  </a:moveTo>
                  <a:cubicBezTo>
                    <a:pt x="5420" y="851"/>
                    <a:pt x="6617" y="1513"/>
                    <a:pt x="6617" y="2112"/>
                  </a:cubicBezTo>
                  <a:cubicBezTo>
                    <a:pt x="6617" y="2679"/>
                    <a:pt x="5420" y="3309"/>
                    <a:pt x="3750" y="3309"/>
                  </a:cubicBezTo>
                  <a:cubicBezTo>
                    <a:pt x="2206" y="3309"/>
                    <a:pt x="851" y="2679"/>
                    <a:pt x="851" y="2112"/>
                  </a:cubicBezTo>
                  <a:cubicBezTo>
                    <a:pt x="851" y="1481"/>
                    <a:pt x="2112" y="851"/>
                    <a:pt x="3750" y="851"/>
                  </a:cubicBezTo>
                  <a:close/>
                  <a:moveTo>
                    <a:pt x="6617" y="3403"/>
                  </a:moveTo>
                  <a:lnTo>
                    <a:pt x="6617" y="3781"/>
                  </a:lnTo>
                  <a:cubicBezTo>
                    <a:pt x="5829" y="4222"/>
                    <a:pt x="5199" y="4884"/>
                    <a:pt x="4821" y="5672"/>
                  </a:cubicBezTo>
                  <a:cubicBezTo>
                    <a:pt x="4475" y="5766"/>
                    <a:pt x="4096" y="5766"/>
                    <a:pt x="3750" y="5766"/>
                  </a:cubicBezTo>
                  <a:cubicBezTo>
                    <a:pt x="2206" y="5766"/>
                    <a:pt x="851" y="5136"/>
                    <a:pt x="851" y="4506"/>
                  </a:cubicBezTo>
                  <a:lnTo>
                    <a:pt x="851" y="3403"/>
                  </a:lnTo>
                  <a:cubicBezTo>
                    <a:pt x="1639" y="3939"/>
                    <a:pt x="2742" y="4159"/>
                    <a:pt x="3750" y="4159"/>
                  </a:cubicBezTo>
                  <a:cubicBezTo>
                    <a:pt x="4727" y="4159"/>
                    <a:pt x="5829" y="3939"/>
                    <a:pt x="6617" y="3403"/>
                  </a:cubicBezTo>
                  <a:close/>
                  <a:moveTo>
                    <a:pt x="883" y="5913"/>
                  </a:moveTo>
                  <a:cubicBezTo>
                    <a:pt x="1396" y="6254"/>
                    <a:pt x="2361" y="6617"/>
                    <a:pt x="3750" y="6617"/>
                  </a:cubicBezTo>
                  <a:cubicBezTo>
                    <a:pt x="4033" y="6617"/>
                    <a:pt x="4254" y="6617"/>
                    <a:pt x="4538" y="6585"/>
                  </a:cubicBezTo>
                  <a:lnTo>
                    <a:pt x="4538" y="6585"/>
                  </a:lnTo>
                  <a:cubicBezTo>
                    <a:pt x="4475" y="6869"/>
                    <a:pt x="4475" y="7184"/>
                    <a:pt x="4475" y="7467"/>
                  </a:cubicBezTo>
                  <a:cubicBezTo>
                    <a:pt x="4475" y="7719"/>
                    <a:pt x="4506" y="7971"/>
                    <a:pt x="4538" y="8255"/>
                  </a:cubicBezTo>
                  <a:cubicBezTo>
                    <a:pt x="4317" y="8287"/>
                    <a:pt x="4033" y="8287"/>
                    <a:pt x="3781" y="8287"/>
                  </a:cubicBezTo>
                  <a:cubicBezTo>
                    <a:pt x="2269" y="8287"/>
                    <a:pt x="883" y="7656"/>
                    <a:pt x="883" y="7026"/>
                  </a:cubicBezTo>
                  <a:lnTo>
                    <a:pt x="883" y="5913"/>
                  </a:lnTo>
                  <a:close/>
                  <a:moveTo>
                    <a:pt x="851" y="8350"/>
                  </a:moveTo>
                  <a:cubicBezTo>
                    <a:pt x="1639" y="8917"/>
                    <a:pt x="2773" y="9106"/>
                    <a:pt x="3750" y="9106"/>
                  </a:cubicBezTo>
                  <a:cubicBezTo>
                    <a:pt x="4096" y="9106"/>
                    <a:pt x="4412" y="9074"/>
                    <a:pt x="4727" y="9043"/>
                  </a:cubicBezTo>
                  <a:cubicBezTo>
                    <a:pt x="4979" y="9547"/>
                    <a:pt x="5294" y="10019"/>
                    <a:pt x="5672" y="10397"/>
                  </a:cubicBezTo>
                  <a:cubicBezTo>
                    <a:pt x="5136" y="10649"/>
                    <a:pt x="4475" y="10775"/>
                    <a:pt x="3750" y="10775"/>
                  </a:cubicBezTo>
                  <a:cubicBezTo>
                    <a:pt x="2112" y="10775"/>
                    <a:pt x="851" y="10082"/>
                    <a:pt x="851" y="9547"/>
                  </a:cubicBezTo>
                  <a:lnTo>
                    <a:pt x="851" y="8350"/>
                  </a:lnTo>
                  <a:close/>
                  <a:moveTo>
                    <a:pt x="8570" y="4159"/>
                  </a:moveTo>
                  <a:cubicBezTo>
                    <a:pt x="10366" y="4159"/>
                    <a:pt x="11878" y="5640"/>
                    <a:pt x="11878" y="7467"/>
                  </a:cubicBezTo>
                  <a:cubicBezTo>
                    <a:pt x="11878" y="9263"/>
                    <a:pt x="10366" y="10775"/>
                    <a:pt x="8570" y="10775"/>
                  </a:cubicBezTo>
                  <a:cubicBezTo>
                    <a:pt x="6743" y="10775"/>
                    <a:pt x="5262" y="9263"/>
                    <a:pt x="5262" y="7467"/>
                  </a:cubicBezTo>
                  <a:cubicBezTo>
                    <a:pt x="5262" y="5609"/>
                    <a:pt x="6743" y="4159"/>
                    <a:pt x="8570" y="4159"/>
                  </a:cubicBezTo>
                  <a:close/>
                  <a:moveTo>
                    <a:pt x="3781" y="1"/>
                  </a:moveTo>
                  <a:cubicBezTo>
                    <a:pt x="1797" y="1"/>
                    <a:pt x="64" y="851"/>
                    <a:pt x="64" y="2112"/>
                  </a:cubicBezTo>
                  <a:lnTo>
                    <a:pt x="64" y="9547"/>
                  </a:lnTo>
                  <a:cubicBezTo>
                    <a:pt x="1" y="10082"/>
                    <a:pt x="442" y="10649"/>
                    <a:pt x="1230" y="11027"/>
                  </a:cubicBezTo>
                  <a:cubicBezTo>
                    <a:pt x="1891" y="11405"/>
                    <a:pt x="2805" y="11563"/>
                    <a:pt x="3750" y="11563"/>
                  </a:cubicBezTo>
                  <a:cubicBezTo>
                    <a:pt x="4790" y="11563"/>
                    <a:pt x="5735" y="11311"/>
                    <a:pt x="6428" y="10964"/>
                  </a:cubicBezTo>
                  <a:cubicBezTo>
                    <a:pt x="7058" y="11342"/>
                    <a:pt x="7814" y="11563"/>
                    <a:pt x="8602" y="11563"/>
                  </a:cubicBezTo>
                  <a:cubicBezTo>
                    <a:pt x="10870" y="11563"/>
                    <a:pt x="12729" y="9704"/>
                    <a:pt x="12729" y="7404"/>
                  </a:cubicBezTo>
                  <a:cubicBezTo>
                    <a:pt x="12729" y="5136"/>
                    <a:pt x="10870" y="3277"/>
                    <a:pt x="8602" y="3277"/>
                  </a:cubicBezTo>
                  <a:cubicBezTo>
                    <a:pt x="8192" y="3277"/>
                    <a:pt x="7846" y="3309"/>
                    <a:pt x="7499" y="3435"/>
                  </a:cubicBezTo>
                  <a:lnTo>
                    <a:pt x="7499" y="2049"/>
                  </a:lnTo>
                  <a:cubicBezTo>
                    <a:pt x="7499" y="1481"/>
                    <a:pt x="7058" y="914"/>
                    <a:pt x="6302" y="536"/>
                  </a:cubicBezTo>
                  <a:cubicBezTo>
                    <a:pt x="5640" y="158"/>
                    <a:pt x="4727" y="1"/>
                    <a:pt x="378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308;p22"/>
            <p:cNvSpPr/>
            <p:nvPr/>
          </p:nvSpPr>
          <p:spPr>
            <a:xfrm>
              <a:off x="-62335475" y="2804325"/>
              <a:ext cx="62250" cy="146525"/>
            </a:xfrm>
            <a:custGeom>
              <a:avLst/>
              <a:gdLst/>
              <a:ahLst/>
              <a:cxnLst/>
              <a:rect l="l" t="t" r="r" b="b"/>
              <a:pathLst>
                <a:path w="2490" h="5861" extrusionOk="0">
                  <a:moveTo>
                    <a:pt x="1261" y="0"/>
                  </a:moveTo>
                  <a:cubicBezTo>
                    <a:pt x="1009" y="0"/>
                    <a:pt x="820" y="189"/>
                    <a:pt x="820" y="410"/>
                  </a:cubicBezTo>
                  <a:lnTo>
                    <a:pt x="820" y="694"/>
                  </a:lnTo>
                  <a:cubicBezTo>
                    <a:pt x="348" y="851"/>
                    <a:pt x="1" y="1324"/>
                    <a:pt x="1" y="1891"/>
                  </a:cubicBezTo>
                  <a:cubicBezTo>
                    <a:pt x="1" y="2552"/>
                    <a:pt x="537" y="2930"/>
                    <a:pt x="978" y="3245"/>
                  </a:cubicBezTo>
                  <a:cubicBezTo>
                    <a:pt x="1293" y="3497"/>
                    <a:pt x="1639" y="3718"/>
                    <a:pt x="1639" y="3970"/>
                  </a:cubicBezTo>
                  <a:cubicBezTo>
                    <a:pt x="1671" y="4254"/>
                    <a:pt x="1482" y="4411"/>
                    <a:pt x="1261" y="4411"/>
                  </a:cubicBezTo>
                  <a:cubicBezTo>
                    <a:pt x="1009" y="4411"/>
                    <a:pt x="820" y="4191"/>
                    <a:pt x="820" y="3970"/>
                  </a:cubicBezTo>
                  <a:cubicBezTo>
                    <a:pt x="820" y="3718"/>
                    <a:pt x="631" y="3529"/>
                    <a:pt x="411" y="3529"/>
                  </a:cubicBezTo>
                  <a:cubicBezTo>
                    <a:pt x="190" y="3529"/>
                    <a:pt x="1" y="3718"/>
                    <a:pt x="1" y="3970"/>
                  </a:cubicBezTo>
                  <a:cubicBezTo>
                    <a:pt x="1" y="4506"/>
                    <a:pt x="348" y="4947"/>
                    <a:pt x="820" y="5136"/>
                  </a:cubicBezTo>
                  <a:lnTo>
                    <a:pt x="820" y="5419"/>
                  </a:lnTo>
                  <a:cubicBezTo>
                    <a:pt x="820" y="5671"/>
                    <a:pt x="1009" y="5860"/>
                    <a:pt x="1261" y="5860"/>
                  </a:cubicBezTo>
                  <a:cubicBezTo>
                    <a:pt x="1482" y="5860"/>
                    <a:pt x="1639" y="5671"/>
                    <a:pt x="1639" y="5419"/>
                  </a:cubicBezTo>
                  <a:lnTo>
                    <a:pt x="1639" y="5136"/>
                  </a:lnTo>
                  <a:cubicBezTo>
                    <a:pt x="2112" y="4978"/>
                    <a:pt x="2458" y="4506"/>
                    <a:pt x="2458" y="3970"/>
                  </a:cubicBezTo>
                  <a:cubicBezTo>
                    <a:pt x="2458" y="3308"/>
                    <a:pt x="1923" y="2899"/>
                    <a:pt x="1482" y="2584"/>
                  </a:cubicBezTo>
                  <a:cubicBezTo>
                    <a:pt x="1167" y="2363"/>
                    <a:pt x="820" y="2111"/>
                    <a:pt x="820" y="1891"/>
                  </a:cubicBezTo>
                  <a:cubicBezTo>
                    <a:pt x="820" y="1639"/>
                    <a:pt x="1009" y="1450"/>
                    <a:pt x="1261" y="1450"/>
                  </a:cubicBezTo>
                  <a:cubicBezTo>
                    <a:pt x="1482" y="1450"/>
                    <a:pt x="1639" y="1639"/>
                    <a:pt x="1639" y="1891"/>
                  </a:cubicBezTo>
                  <a:cubicBezTo>
                    <a:pt x="1639" y="2111"/>
                    <a:pt x="1860" y="2300"/>
                    <a:pt x="2049" y="2300"/>
                  </a:cubicBezTo>
                  <a:cubicBezTo>
                    <a:pt x="2269" y="2300"/>
                    <a:pt x="2490" y="2111"/>
                    <a:pt x="2490" y="1891"/>
                  </a:cubicBezTo>
                  <a:cubicBezTo>
                    <a:pt x="2490" y="1324"/>
                    <a:pt x="2112" y="883"/>
                    <a:pt x="1639" y="694"/>
                  </a:cubicBezTo>
                  <a:lnTo>
                    <a:pt x="1639" y="410"/>
                  </a:lnTo>
                  <a:cubicBezTo>
                    <a:pt x="1639" y="189"/>
                    <a:pt x="1450" y="0"/>
                    <a:pt x="1261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09" name="Google Shape;309;p22"/>
          <p:cNvGrpSpPr/>
          <p:nvPr/>
        </p:nvGrpSpPr>
        <p:grpSpPr>
          <a:xfrm>
            <a:off x="3924549" y="3406161"/>
            <a:ext cx="367165" cy="349294"/>
            <a:chOff x="-59889100" y="1945025"/>
            <a:chExt cx="317425" cy="301975"/>
          </a:xfrm>
        </p:grpSpPr>
        <p:sp>
          <p:nvSpPr>
            <p:cNvPr id="310" name="Google Shape;310;p22"/>
            <p:cNvSpPr/>
            <p:nvPr/>
          </p:nvSpPr>
          <p:spPr>
            <a:xfrm>
              <a:off x="-59845000" y="2074200"/>
              <a:ext cx="63025" cy="61450"/>
            </a:xfrm>
            <a:custGeom>
              <a:avLst/>
              <a:gdLst/>
              <a:ahLst/>
              <a:cxnLst/>
              <a:rect l="l" t="t" r="r" b="b"/>
              <a:pathLst>
                <a:path w="2521" h="2458" extrusionOk="0">
                  <a:moveTo>
                    <a:pt x="1702" y="788"/>
                  </a:moveTo>
                  <a:lnTo>
                    <a:pt x="1702" y="1639"/>
                  </a:lnTo>
                  <a:lnTo>
                    <a:pt x="883" y="1639"/>
                  </a:lnTo>
                  <a:lnTo>
                    <a:pt x="883" y="788"/>
                  </a:lnTo>
                  <a:close/>
                  <a:moveTo>
                    <a:pt x="442" y="0"/>
                  </a:moveTo>
                  <a:cubicBezTo>
                    <a:pt x="190" y="0"/>
                    <a:pt x="1" y="190"/>
                    <a:pt x="1" y="410"/>
                  </a:cubicBezTo>
                  <a:lnTo>
                    <a:pt x="1" y="2048"/>
                  </a:lnTo>
                  <a:cubicBezTo>
                    <a:pt x="1" y="2300"/>
                    <a:pt x="190" y="2458"/>
                    <a:pt x="442" y="2458"/>
                  </a:cubicBezTo>
                  <a:lnTo>
                    <a:pt x="2080" y="2458"/>
                  </a:lnTo>
                  <a:cubicBezTo>
                    <a:pt x="2332" y="2458"/>
                    <a:pt x="2521" y="2237"/>
                    <a:pt x="2521" y="2048"/>
                  </a:cubicBezTo>
                  <a:lnTo>
                    <a:pt x="2521" y="410"/>
                  </a:lnTo>
                  <a:cubicBezTo>
                    <a:pt x="2521" y="158"/>
                    <a:pt x="2332" y="0"/>
                    <a:pt x="208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11;p22"/>
            <p:cNvSpPr/>
            <p:nvPr/>
          </p:nvSpPr>
          <p:spPr>
            <a:xfrm>
              <a:off x="-59761500" y="1990700"/>
              <a:ext cx="61450" cy="144950"/>
            </a:xfrm>
            <a:custGeom>
              <a:avLst/>
              <a:gdLst/>
              <a:ahLst/>
              <a:cxnLst/>
              <a:rect l="l" t="t" r="r" b="b"/>
              <a:pathLst>
                <a:path w="2458" h="5798" extrusionOk="0">
                  <a:moveTo>
                    <a:pt x="1670" y="820"/>
                  </a:moveTo>
                  <a:lnTo>
                    <a:pt x="1670" y="4979"/>
                  </a:lnTo>
                  <a:lnTo>
                    <a:pt x="851" y="4979"/>
                  </a:lnTo>
                  <a:lnTo>
                    <a:pt x="851" y="820"/>
                  </a:lnTo>
                  <a:close/>
                  <a:moveTo>
                    <a:pt x="410" y="1"/>
                  </a:moveTo>
                  <a:cubicBezTo>
                    <a:pt x="158" y="1"/>
                    <a:pt x="0" y="190"/>
                    <a:pt x="0" y="411"/>
                  </a:cubicBezTo>
                  <a:lnTo>
                    <a:pt x="0" y="5357"/>
                  </a:lnTo>
                  <a:cubicBezTo>
                    <a:pt x="0" y="5577"/>
                    <a:pt x="158" y="5798"/>
                    <a:pt x="410" y="5798"/>
                  </a:cubicBezTo>
                  <a:lnTo>
                    <a:pt x="2048" y="5798"/>
                  </a:lnTo>
                  <a:cubicBezTo>
                    <a:pt x="2300" y="5798"/>
                    <a:pt x="2458" y="5577"/>
                    <a:pt x="2458" y="5388"/>
                  </a:cubicBezTo>
                  <a:lnTo>
                    <a:pt x="2458" y="411"/>
                  </a:lnTo>
                  <a:cubicBezTo>
                    <a:pt x="2458" y="158"/>
                    <a:pt x="2269" y="1"/>
                    <a:pt x="20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12;p22"/>
            <p:cNvSpPr/>
            <p:nvPr/>
          </p:nvSpPr>
          <p:spPr>
            <a:xfrm>
              <a:off x="-59678800" y="2053725"/>
              <a:ext cx="61450" cy="81925"/>
            </a:xfrm>
            <a:custGeom>
              <a:avLst/>
              <a:gdLst/>
              <a:ahLst/>
              <a:cxnLst/>
              <a:rect l="l" t="t" r="r" b="b"/>
              <a:pathLst>
                <a:path w="2458" h="3277" extrusionOk="0">
                  <a:moveTo>
                    <a:pt x="1670" y="788"/>
                  </a:moveTo>
                  <a:lnTo>
                    <a:pt x="1670" y="2458"/>
                  </a:lnTo>
                  <a:lnTo>
                    <a:pt x="851" y="2458"/>
                  </a:lnTo>
                  <a:lnTo>
                    <a:pt x="851" y="788"/>
                  </a:lnTo>
                  <a:close/>
                  <a:moveTo>
                    <a:pt x="410" y="0"/>
                  </a:moveTo>
                  <a:cubicBezTo>
                    <a:pt x="158" y="0"/>
                    <a:pt x="0" y="189"/>
                    <a:pt x="0" y="410"/>
                  </a:cubicBezTo>
                  <a:lnTo>
                    <a:pt x="0" y="2867"/>
                  </a:lnTo>
                  <a:cubicBezTo>
                    <a:pt x="0" y="3056"/>
                    <a:pt x="158" y="3277"/>
                    <a:pt x="410" y="3277"/>
                  </a:cubicBezTo>
                  <a:lnTo>
                    <a:pt x="2048" y="3277"/>
                  </a:lnTo>
                  <a:cubicBezTo>
                    <a:pt x="2300" y="3277"/>
                    <a:pt x="2458" y="3056"/>
                    <a:pt x="2458" y="2867"/>
                  </a:cubicBezTo>
                  <a:lnTo>
                    <a:pt x="2458" y="410"/>
                  </a:lnTo>
                  <a:cubicBezTo>
                    <a:pt x="2458" y="158"/>
                    <a:pt x="2269" y="0"/>
                    <a:pt x="2048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13;p22"/>
            <p:cNvSpPr/>
            <p:nvPr/>
          </p:nvSpPr>
          <p:spPr>
            <a:xfrm>
              <a:off x="-59889100" y="1945025"/>
              <a:ext cx="317425" cy="301975"/>
            </a:xfrm>
            <a:custGeom>
              <a:avLst/>
              <a:gdLst/>
              <a:ahLst/>
              <a:cxnLst/>
              <a:rect l="l" t="t" r="r" b="b"/>
              <a:pathLst>
                <a:path w="12697" h="12079" extrusionOk="0">
                  <a:moveTo>
                    <a:pt x="6333" y="851"/>
                  </a:moveTo>
                  <a:cubicBezTo>
                    <a:pt x="9357" y="851"/>
                    <a:pt x="11846" y="2931"/>
                    <a:pt x="11846" y="5546"/>
                  </a:cubicBezTo>
                  <a:cubicBezTo>
                    <a:pt x="11846" y="8129"/>
                    <a:pt x="9357" y="10208"/>
                    <a:pt x="6333" y="10208"/>
                  </a:cubicBezTo>
                  <a:cubicBezTo>
                    <a:pt x="5482" y="10208"/>
                    <a:pt x="4600" y="10019"/>
                    <a:pt x="3812" y="9704"/>
                  </a:cubicBezTo>
                  <a:cubicBezTo>
                    <a:pt x="3757" y="9682"/>
                    <a:pt x="3697" y="9671"/>
                    <a:pt x="3637" y="9671"/>
                  </a:cubicBezTo>
                  <a:cubicBezTo>
                    <a:pt x="3529" y="9671"/>
                    <a:pt x="3421" y="9706"/>
                    <a:pt x="3340" y="9767"/>
                  </a:cubicBezTo>
                  <a:lnTo>
                    <a:pt x="2489" y="10649"/>
                  </a:lnTo>
                  <a:lnTo>
                    <a:pt x="2489" y="9074"/>
                  </a:lnTo>
                  <a:cubicBezTo>
                    <a:pt x="2489" y="8948"/>
                    <a:pt x="2426" y="8822"/>
                    <a:pt x="2363" y="8759"/>
                  </a:cubicBezTo>
                  <a:cubicBezTo>
                    <a:pt x="1387" y="7877"/>
                    <a:pt x="819" y="6743"/>
                    <a:pt x="819" y="5514"/>
                  </a:cubicBezTo>
                  <a:cubicBezTo>
                    <a:pt x="819" y="2962"/>
                    <a:pt x="3308" y="851"/>
                    <a:pt x="6333" y="851"/>
                  </a:cubicBezTo>
                  <a:close/>
                  <a:moveTo>
                    <a:pt x="6333" y="1"/>
                  </a:moveTo>
                  <a:cubicBezTo>
                    <a:pt x="2836" y="1"/>
                    <a:pt x="0" y="2490"/>
                    <a:pt x="0" y="5514"/>
                  </a:cubicBezTo>
                  <a:cubicBezTo>
                    <a:pt x="0" y="6963"/>
                    <a:pt x="599" y="8255"/>
                    <a:pt x="1639" y="9263"/>
                  </a:cubicBezTo>
                  <a:lnTo>
                    <a:pt x="1639" y="11689"/>
                  </a:lnTo>
                  <a:cubicBezTo>
                    <a:pt x="1639" y="11918"/>
                    <a:pt x="1832" y="12079"/>
                    <a:pt x="2045" y="12079"/>
                  </a:cubicBezTo>
                  <a:cubicBezTo>
                    <a:pt x="2153" y="12079"/>
                    <a:pt x="2267" y="12037"/>
                    <a:pt x="2363" y="11941"/>
                  </a:cubicBezTo>
                  <a:lnTo>
                    <a:pt x="3749" y="10555"/>
                  </a:lnTo>
                  <a:cubicBezTo>
                    <a:pt x="4569" y="10901"/>
                    <a:pt x="5419" y="11027"/>
                    <a:pt x="6333" y="11027"/>
                  </a:cubicBezTo>
                  <a:cubicBezTo>
                    <a:pt x="9830" y="11027"/>
                    <a:pt x="12697" y="8570"/>
                    <a:pt x="12697" y="5514"/>
                  </a:cubicBezTo>
                  <a:cubicBezTo>
                    <a:pt x="12697" y="2490"/>
                    <a:pt x="9861" y="1"/>
                    <a:pt x="633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C84E573-03FF-2509-8351-82E199DEBB3F}"/>
              </a:ext>
            </a:extLst>
          </p:cNvPr>
          <p:cNvSpPr txBox="1"/>
          <p:nvPr/>
        </p:nvSpPr>
        <p:spPr>
          <a:xfrm>
            <a:off x="930835" y="3864267"/>
            <a:ext cx="84263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CLUSION: 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improve the sales target women customers of age group (30-49 years) living in Maharashtra, Karnataka and Uttar Pradesh by increasing ads/offers/coupons available on Amazon , Flipkart and Myntra.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Roadmap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favorite_POWER_USER_SEPARATOR_ICONS_pole_POWER_USER_SEPARATOR_ICONS_rating_POWER_USER_SEPARATOR_ICONS_star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favorite_POWER_USER_SEPARATOR_ICONS_pole_POWER_USER_SEPARATOR_ICONS_rating_POWER_USER_SEPARATOR_ICONS_star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favorite_POWER_USER_SEPARATOR_ICONS_pole_POWER_USER_SEPARATOR_ICONS_rating_POWER_USER_SEPARATOR_ICONS_star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heme/theme1.xml><?xml version="1.0" encoding="utf-8"?>
<a:theme xmlns:a="http://schemas.openxmlformats.org/drawingml/2006/main" name="Marketing Mix Waves Style Infographics by Slidesgo">
  <a:themeElements>
    <a:clrScheme name="Simple Light">
      <a:dk1>
        <a:srgbClr val="000000"/>
      </a:dk1>
      <a:lt1>
        <a:srgbClr val="F3EAE3"/>
      </a:lt1>
      <a:dk2>
        <a:srgbClr val="F0DECD"/>
      </a:dk2>
      <a:lt2>
        <a:srgbClr val="FF4D01"/>
      </a:lt2>
      <a:accent1>
        <a:srgbClr val="FED002"/>
      </a:accent1>
      <a:accent2>
        <a:srgbClr val="01967A"/>
      </a:accent2>
      <a:accent3>
        <a:srgbClr val="7CACE1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</TotalTime>
  <Words>539</Words>
  <Application>Microsoft Office PowerPoint</Application>
  <PresentationFormat>On-screen Show (16:9)</PresentationFormat>
  <Paragraphs>39</Paragraphs>
  <Slides>7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Open Sans</vt:lpstr>
      <vt:lpstr>Times New Roman</vt:lpstr>
      <vt:lpstr>Roboto Condensed Light</vt:lpstr>
      <vt:lpstr>Arial</vt:lpstr>
      <vt:lpstr>Wingdings</vt:lpstr>
      <vt:lpstr>Lancelot</vt:lpstr>
      <vt:lpstr>Baloo 2 ExtraBold</vt:lpstr>
      <vt:lpstr>Baloo 2</vt:lpstr>
      <vt:lpstr>Open Sans Medium</vt:lpstr>
      <vt:lpstr>Marketing Mix Waves Style Infographics by Slidesgo</vt:lpstr>
      <vt:lpstr>VRINDA STORE DATA ANALYSIS</vt:lpstr>
      <vt:lpstr>ABOUT THE DATASET</vt:lpstr>
      <vt:lpstr>OBJECTIVE</vt:lpstr>
      <vt:lpstr>Roadmap </vt:lpstr>
      <vt:lpstr>BUSINESS QUESTIONS</vt:lpstr>
      <vt:lpstr>INSIGHTS</vt:lpstr>
      <vt:lpstr>INSIGH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RINDA STORE DATA ANALYSIS</dc:title>
  <dc:creator>Admin</dc:creator>
  <cp:lastModifiedBy>Adhiti u</cp:lastModifiedBy>
  <cp:revision>2</cp:revision>
  <dcterms:modified xsi:type="dcterms:W3CDTF">2023-12-13T05:50:01Z</dcterms:modified>
</cp:coreProperties>
</file>